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png&amp;ehk=OBahwz7qpjEBSHiaBDVMnA&amp;r=0&amp;pid=OfficeInsert" ContentType="image/png"/>
  <Default Extension="emf" ContentType="image/x-emf"/>
  <Default Extension="jpg&amp;ehk=cRk7z6DSzHA1oxValWRYpQ&amp;r=0&amp;pid=OfficeInsert" ContentType="image/jpeg"/>
  <Default Extension="jpeg" ContentType="image/jpeg"/>
  <Default Extension="rels" ContentType="application/vnd.openxmlformats-package.relationships+xml"/>
  <Default Extension="xml" ContentType="application/xml"/>
  <Default Extension="jpg&amp;ehk=D6PlWKuG9YNJYjT79APo0w&amp;r=0&amp;pid=OfficeInsert" ContentType="image/jpeg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82" r:id="rId2"/>
    <p:sldMasterId id="2147483879" r:id="rId3"/>
    <p:sldMasterId id="2147484012" r:id="rId4"/>
    <p:sldMasterId id="2147484044" r:id="rId5"/>
    <p:sldMasterId id="2147484238" r:id="rId6"/>
    <p:sldMasterId id="2147484262" r:id="rId7"/>
    <p:sldMasterId id="2147484274" r:id="rId8"/>
    <p:sldMasterId id="2147484283" r:id="rId9"/>
  </p:sldMasterIdLst>
  <p:notesMasterIdLst>
    <p:notesMasterId r:id="rId31"/>
  </p:notesMasterIdLst>
  <p:sldIdLst>
    <p:sldId id="256" r:id="rId10"/>
    <p:sldId id="956" r:id="rId11"/>
    <p:sldId id="959" r:id="rId12"/>
    <p:sldId id="958" r:id="rId13"/>
    <p:sldId id="975" r:id="rId14"/>
    <p:sldId id="972" r:id="rId15"/>
    <p:sldId id="974" r:id="rId16"/>
    <p:sldId id="944" r:id="rId17"/>
    <p:sldId id="976" r:id="rId18"/>
    <p:sldId id="986" r:id="rId19"/>
    <p:sldId id="988" r:id="rId20"/>
    <p:sldId id="963" r:id="rId21"/>
    <p:sldId id="979" r:id="rId22"/>
    <p:sldId id="980" r:id="rId23"/>
    <p:sldId id="981" r:id="rId24"/>
    <p:sldId id="982" r:id="rId25"/>
    <p:sldId id="983" r:id="rId26"/>
    <p:sldId id="984" r:id="rId27"/>
    <p:sldId id="985" r:id="rId28"/>
    <p:sldId id="949" r:id="rId29"/>
    <p:sldId id="275" r:id="rId30"/>
  </p:sldIdLst>
  <p:sldSz cx="12192000" cy="6858000"/>
  <p:notesSz cx="7104063" cy="102346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еливерстов Александр Анатольевич" initials="САА" lastIdx="1" clrIdx="0">
    <p:extLst>
      <p:ext uri="{19B8F6BF-5375-455C-9EA6-DF929625EA0E}">
        <p15:presenceInfo xmlns:p15="http://schemas.microsoft.com/office/powerpoint/2012/main" userId="S-1-5-21-1777726350-4139854969-11282829-250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65C0"/>
    <a:srgbClr val="0E4AA1"/>
    <a:srgbClr val="C1E1FE"/>
    <a:srgbClr val="2C1A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71392" autoAdjust="0"/>
  </p:normalViewPr>
  <p:slideViewPr>
    <p:cSldViewPr>
      <p:cViewPr varScale="1">
        <p:scale>
          <a:sx n="61" d="100"/>
          <a:sy n="61" d="100"/>
        </p:scale>
        <p:origin x="1524" y="1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kle Bogema" userId="8f74aa1efba25c82" providerId="LiveId" clId="{E076410A-1BAC-40A2-AC5D-9BC1E14EDE30}"/>
    <pc:docChg chg="delSld delMainMaster">
      <pc:chgData name="Mikle Bogema" userId="8f74aa1efba25c82" providerId="LiveId" clId="{E076410A-1BAC-40A2-AC5D-9BC1E14EDE30}" dt="2018-04-17T09:23:32.154" v="31" actId="2696"/>
      <pc:docMkLst>
        <pc:docMk/>
      </pc:docMkLst>
      <pc:sldChg chg="del">
        <pc:chgData name="Mikle Bogema" userId="8f74aa1efba25c82" providerId="LiveId" clId="{E076410A-1BAC-40A2-AC5D-9BC1E14EDE30}" dt="2018-04-17T09:21:52.079" v="0" actId="2696"/>
        <pc:sldMkLst>
          <pc:docMk/>
          <pc:sldMk cId="3672980048" sldId="381"/>
        </pc:sldMkLst>
      </pc:sldChg>
      <pc:sldChg chg="del">
        <pc:chgData name="Mikle Bogema" userId="8f74aa1efba25c82" providerId="LiveId" clId="{E076410A-1BAC-40A2-AC5D-9BC1E14EDE30}" dt="2018-04-17T09:23:16.852" v="23" actId="2696"/>
        <pc:sldMkLst>
          <pc:docMk/>
          <pc:sldMk cId="37972425" sldId="945"/>
        </pc:sldMkLst>
      </pc:sldChg>
      <pc:sldChg chg="del">
        <pc:chgData name="Mikle Bogema" userId="8f74aa1efba25c82" providerId="LiveId" clId="{E076410A-1BAC-40A2-AC5D-9BC1E14EDE30}" dt="2018-04-17T09:23:18.685" v="25" actId="2696"/>
        <pc:sldMkLst>
          <pc:docMk/>
          <pc:sldMk cId="1231488016" sldId="946"/>
        </pc:sldMkLst>
      </pc:sldChg>
      <pc:sldChg chg="del">
        <pc:chgData name="Mikle Bogema" userId="8f74aa1efba25c82" providerId="LiveId" clId="{E076410A-1BAC-40A2-AC5D-9BC1E14EDE30}" dt="2018-04-17T09:23:30.746" v="30" actId="2696"/>
        <pc:sldMkLst>
          <pc:docMk/>
          <pc:sldMk cId="3522928437" sldId="947"/>
        </pc:sldMkLst>
      </pc:sldChg>
      <pc:sldChg chg="del">
        <pc:chgData name="Mikle Bogema" userId="8f74aa1efba25c82" providerId="LiveId" clId="{E076410A-1BAC-40A2-AC5D-9BC1E14EDE30}" dt="2018-04-17T09:23:32.154" v="31" actId="2696"/>
        <pc:sldMkLst>
          <pc:docMk/>
          <pc:sldMk cId="2747828140" sldId="948"/>
        </pc:sldMkLst>
      </pc:sldChg>
      <pc:sldChg chg="del">
        <pc:chgData name="Mikle Bogema" userId="8f74aa1efba25c82" providerId="LiveId" clId="{E076410A-1BAC-40A2-AC5D-9BC1E14EDE30}" dt="2018-04-17T09:22:46.128" v="20" actId="2696"/>
        <pc:sldMkLst>
          <pc:docMk/>
          <pc:sldMk cId="2737179609" sldId="953"/>
        </pc:sldMkLst>
      </pc:sldChg>
      <pc:sldChg chg="del">
        <pc:chgData name="Mikle Bogema" userId="8f74aa1efba25c82" providerId="LiveId" clId="{E076410A-1BAC-40A2-AC5D-9BC1E14EDE30}" dt="2018-04-17T09:22:45.355" v="19" actId="2696"/>
        <pc:sldMkLst>
          <pc:docMk/>
          <pc:sldMk cId="2268499138" sldId="954"/>
        </pc:sldMkLst>
      </pc:sldChg>
      <pc:sldChg chg="del">
        <pc:chgData name="Mikle Bogema" userId="8f74aa1efba25c82" providerId="LiveId" clId="{E076410A-1BAC-40A2-AC5D-9BC1E14EDE30}" dt="2018-04-17T09:23:22.869" v="29" actId="2696"/>
        <pc:sldMkLst>
          <pc:docMk/>
          <pc:sldMk cId="4135465838" sldId="960"/>
        </pc:sldMkLst>
      </pc:sldChg>
      <pc:sldChg chg="del">
        <pc:chgData name="Mikle Bogema" userId="8f74aa1efba25c82" providerId="LiveId" clId="{E076410A-1BAC-40A2-AC5D-9BC1E14EDE30}" dt="2018-04-17T09:23:21.067" v="27" actId="2696"/>
        <pc:sldMkLst>
          <pc:docMk/>
          <pc:sldMk cId="1967036407" sldId="961"/>
        </pc:sldMkLst>
      </pc:sldChg>
      <pc:sldChg chg="del">
        <pc:chgData name="Mikle Bogema" userId="8f74aa1efba25c82" providerId="LiveId" clId="{E076410A-1BAC-40A2-AC5D-9BC1E14EDE30}" dt="2018-04-17T09:23:22.231" v="28" actId="2696"/>
        <pc:sldMkLst>
          <pc:docMk/>
          <pc:sldMk cId="3054384526" sldId="962"/>
        </pc:sldMkLst>
      </pc:sldChg>
      <pc:sldChg chg="del">
        <pc:chgData name="Mikle Bogema" userId="8f74aa1efba25c82" providerId="LiveId" clId="{E076410A-1BAC-40A2-AC5D-9BC1E14EDE30}" dt="2018-04-17T09:22:47.490" v="21" actId="2696"/>
        <pc:sldMkLst>
          <pc:docMk/>
          <pc:sldMk cId="4232846065" sldId="965"/>
        </pc:sldMkLst>
      </pc:sldChg>
      <pc:sldChg chg="del">
        <pc:chgData name="Mikle Bogema" userId="8f74aa1efba25c82" providerId="LiveId" clId="{E076410A-1BAC-40A2-AC5D-9BC1E14EDE30}" dt="2018-04-17T09:22:49.203" v="22" actId="2696"/>
        <pc:sldMkLst>
          <pc:docMk/>
          <pc:sldMk cId="1687976372" sldId="966"/>
        </pc:sldMkLst>
      </pc:sldChg>
      <pc:sldChg chg="del">
        <pc:chgData name="Mikle Bogema" userId="8f74aa1efba25c82" providerId="LiveId" clId="{E076410A-1BAC-40A2-AC5D-9BC1E14EDE30}" dt="2018-04-17T09:23:19.356" v="26" actId="2696"/>
        <pc:sldMkLst>
          <pc:docMk/>
          <pc:sldMk cId="154479083" sldId="971"/>
        </pc:sldMkLst>
      </pc:sldChg>
      <pc:sldChg chg="del">
        <pc:chgData name="Mikle Bogema" userId="8f74aa1efba25c82" providerId="LiveId" clId="{E076410A-1BAC-40A2-AC5D-9BC1E14EDE30}" dt="2018-04-17T09:23:17.490" v="24" actId="2696"/>
        <pc:sldMkLst>
          <pc:docMk/>
          <pc:sldMk cId="2293063812" sldId="973"/>
        </pc:sldMkLst>
      </pc:sldChg>
      <pc:sldChg chg="del">
        <pc:chgData name="Mikle Bogema" userId="8f74aa1efba25c82" providerId="LiveId" clId="{E076410A-1BAC-40A2-AC5D-9BC1E14EDE30}" dt="2018-04-17T09:22:32.975" v="13" actId="2696"/>
        <pc:sldMkLst>
          <pc:docMk/>
          <pc:sldMk cId="3629256774" sldId="989"/>
        </pc:sldMkLst>
      </pc:sldChg>
      <pc:sldChg chg="del">
        <pc:chgData name="Mikle Bogema" userId="8f74aa1efba25c82" providerId="LiveId" clId="{E076410A-1BAC-40A2-AC5D-9BC1E14EDE30}" dt="2018-04-17T09:22:33.927" v="14" actId="2696"/>
        <pc:sldMkLst>
          <pc:docMk/>
          <pc:sldMk cId="235097909" sldId="990"/>
        </pc:sldMkLst>
      </pc:sldChg>
      <pc:sldChg chg="del">
        <pc:chgData name="Mikle Bogema" userId="8f74aa1efba25c82" providerId="LiveId" clId="{E076410A-1BAC-40A2-AC5D-9BC1E14EDE30}" dt="2018-04-17T09:22:34.479" v="15" actId="2696"/>
        <pc:sldMkLst>
          <pc:docMk/>
          <pc:sldMk cId="4270930748" sldId="991"/>
        </pc:sldMkLst>
      </pc:sldChg>
      <pc:sldChg chg="del">
        <pc:chgData name="Mikle Bogema" userId="8f74aa1efba25c82" providerId="LiveId" clId="{E076410A-1BAC-40A2-AC5D-9BC1E14EDE30}" dt="2018-04-17T09:22:35.229" v="16" actId="2696"/>
        <pc:sldMkLst>
          <pc:docMk/>
          <pc:sldMk cId="845847474" sldId="992"/>
        </pc:sldMkLst>
      </pc:sldChg>
      <pc:sldChg chg="del">
        <pc:chgData name="Mikle Bogema" userId="8f74aa1efba25c82" providerId="LiveId" clId="{E076410A-1BAC-40A2-AC5D-9BC1E14EDE30}" dt="2018-04-17T09:22:35.815" v="17" actId="2696"/>
        <pc:sldMkLst>
          <pc:docMk/>
          <pc:sldMk cId="3129740801" sldId="993"/>
        </pc:sldMkLst>
      </pc:sldChg>
      <pc:sldChg chg="del">
        <pc:chgData name="Mikle Bogema" userId="8f74aa1efba25c82" providerId="LiveId" clId="{E076410A-1BAC-40A2-AC5D-9BC1E14EDE30}" dt="2018-04-17T09:22:42.592" v="18" actId="2696"/>
        <pc:sldMkLst>
          <pc:docMk/>
          <pc:sldMk cId="4291979830" sldId="994"/>
        </pc:sldMkLst>
      </pc:sldChg>
      <pc:sldMasterChg chg="del delSldLayout">
        <pc:chgData name="Mikle Bogema" userId="8f74aa1efba25c82" providerId="LiveId" clId="{E076410A-1BAC-40A2-AC5D-9BC1E14EDE30}" dt="2018-04-17T09:21:52.079" v="12" actId="2696"/>
        <pc:sldMasterMkLst>
          <pc:docMk/>
          <pc:sldMasterMk cId="318224891" sldId="2147484296"/>
        </pc:sldMasterMkLst>
        <pc:sldLayoutChg chg="del">
          <pc:chgData name="Mikle Bogema" userId="8f74aa1efba25c82" providerId="LiveId" clId="{E076410A-1BAC-40A2-AC5D-9BC1E14EDE30}" dt="2018-04-17T09:21:52.079" v="1" actId="2696"/>
          <pc:sldLayoutMkLst>
            <pc:docMk/>
            <pc:sldMasterMk cId="318224891" sldId="2147484296"/>
            <pc:sldLayoutMk cId="2375352200" sldId="2147484297"/>
          </pc:sldLayoutMkLst>
        </pc:sldLayoutChg>
        <pc:sldLayoutChg chg="del">
          <pc:chgData name="Mikle Bogema" userId="8f74aa1efba25c82" providerId="LiveId" clId="{E076410A-1BAC-40A2-AC5D-9BC1E14EDE30}" dt="2018-04-17T09:21:52.079" v="2" actId="2696"/>
          <pc:sldLayoutMkLst>
            <pc:docMk/>
            <pc:sldMasterMk cId="318224891" sldId="2147484296"/>
            <pc:sldLayoutMk cId="1329413917" sldId="2147484298"/>
          </pc:sldLayoutMkLst>
        </pc:sldLayoutChg>
        <pc:sldLayoutChg chg="del">
          <pc:chgData name="Mikle Bogema" userId="8f74aa1efba25c82" providerId="LiveId" clId="{E076410A-1BAC-40A2-AC5D-9BC1E14EDE30}" dt="2018-04-17T09:21:52.079" v="3" actId="2696"/>
          <pc:sldLayoutMkLst>
            <pc:docMk/>
            <pc:sldMasterMk cId="318224891" sldId="2147484296"/>
            <pc:sldLayoutMk cId="3642180505" sldId="2147484299"/>
          </pc:sldLayoutMkLst>
        </pc:sldLayoutChg>
        <pc:sldLayoutChg chg="del">
          <pc:chgData name="Mikle Bogema" userId="8f74aa1efba25c82" providerId="LiveId" clId="{E076410A-1BAC-40A2-AC5D-9BC1E14EDE30}" dt="2018-04-17T09:21:52.079" v="4" actId="2696"/>
          <pc:sldLayoutMkLst>
            <pc:docMk/>
            <pc:sldMasterMk cId="318224891" sldId="2147484296"/>
            <pc:sldLayoutMk cId="3571944629" sldId="2147484300"/>
          </pc:sldLayoutMkLst>
        </pc:sldLayoutChg>
        <pc:sldLayoutChg chg="del">
          <pc:chgData name="Mikle Bogema" userId="8f74aa1efba25c82" providerId="LiveId" clId="{E076410A-1BAC-40A2-AC5D-9BC1E14EDE30}" dt="2018-04-17T09:21:52.079" v="5" actId="2696"/>
          <pc:sldLayoutMkLst>
            <pc:docMk/>
            <pc:sldMasterMk cId="318224891" sldId="2147484296"/>
            <pc:sldLayoutMk cId="3695839432" sldId="2147484301"/>
          </pc:sldLayoutMkLst>
        </pc:sldLayoutChg>
        <pc:sldLayoutChg chg="del">
          <pc:chgData name="Mikle Bogema" userId="8f74aa1efba25c82" providerId="LiveId" clId="{E076410A-1BAC-40A2-AC5D-9BC1E14EDE30}" dt="2018-04-17T09:21:52.079" v="6" actId="2696"/>
          <pc:sldLayoutMkLst>
            <pc:docMk/>
            <pc:sldMasterMk cId="318224891" sldId="2147484296"/>
            <pc:sldLayoutMk cId="2605604734" sldId="2147484302"/>
          </pc:sldLayoutMkLst>
        </pc:sldLayoutChg>
        <pc:sldLayoutChg chg="del">
          <pc:chgData name="Mikle Bogema" userId="8f74aa1efba25c82" providerId="LiveId" clId="{E076410A-1BAC-40A2-AC5D-9BC1E14EDE30}" dt="2018-04-17T09:21:52.079" v="7" actId="2696"/>
          <pc:sldLayoutMkLst>
            <pc:docMk/>
            <pc:sldMasterMk cId="318224891" sldId="2147484296"/>
            <pc:sldLayoutMk cId="831472828" sldId="2147484303"/>
          </pc:sldLayoutMkLst>
        </pc:sldLayoutChg>
        <pc:sldLayoutChg chg="del">
          <pc:chgData name="Mikle Bogema" userId="8f74aa1efba25c82" providerId="LiveId" clId="{E076410A-1BAC-40A2-AC5D-9BC1E14EDE30}" dt="2018-04-17T09:21:52.079" v="8" actId="2696"/>
          <pc:sldLayoutMkLst>
            <pc:docMk/>
            <pc:sldMasterMk cId="318224891" sldId="2147484296"/>
            <pc:sldLayoutMk cId="260490953" sldId="2147484304"/>
          </pc:sldLayoutMkLst>
        </pc:sldLayoutChg>
        <pc:sldLayoutChg chg="del">
          <pc:chgData name="Mikle Bogema" userId="8f74aa1efba25c82" providerId="LiveId" clId="{E076410A-1BAC-40A2-AC5D-9BC1E14EDE30}" dt="2018-04-17T09:21:52.079" v="9" actId="2696"/>
          <pc:sldLayoutMkLst>
            <pc:docMk/>
            <pc:sldMasterMk cId="318224891" sldId="2147484296"/>
            <pc:sldLayoutMk cId="90505207" sldId="2147484305"/>
          </pc:sldLayoutMkLst>
        </pc:sldLayoutChg>
        <pc:sldLayoutChg chg="del">
          <pc:chgData name="Mikle Bogema" userId="8f74aa1efba25c82" providerId="LiveId" clId="{E076410A-1BAC-40A2-AC5D-9BC1E14EDE30}" dt="2018-04-17T09:21:52.079" v="10" actId="2696"/>
          <pc:sldLayoutMkLst>
            <pc:docMk/>
            <pc:sldMasterMk cId="318224891" sldId="2147484296"/>
            <pc:sldLayoutMk cId="3362196345" sldId="2147484306"/>
          </pc:sldLayoutMkLst>
        </pc:sldLayoutChg>
        <pc:sldLayoutChg chg="del">
          <pc:chgData name="Mikle Bogema" userId="8f74aa1efba25c82" providerId="LiveId" clId="{E076410A-1BAC-40A2-AC5D-9BC1E14EDE30}" dt="2018-04-17T09:21:52.079" v="11" actId="2696"/>
          <pc:sldLayoutMkLst>
            <pc:docMk/>
            <pc:sldMasterMk cId="318224891" sldId="2147484296"/>
            <pc:sldLayoutMk cId="2575156006" sldId="2147484307"/>
          </pc:sldLayoutMkLst>
        </pc:sldLayoutChg>
      </pc:sldMasterChg>
    </pc:docChg>
  </pc:docChgLst>
</pc:chgInfo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&amp;ehk=D6PlWKuG9YNJYjT79APo0w&amp;r=0&amp;pid=OfficeInsert"/><Relationship Id="rId2" Type="http://schemas.openxmlformats.org/officeDocument/2006/relationships/hyperlink" Target="https://gregorkon.wordpress.com/2016/08/16/fly-3/" TargetMode="External"/><Relationship Id="rId1" Type="http://schemas.openxmlformats.org/officeDocument/2006/relationships/image" Target="../media/image19.jpg&amp;ehk=cRk7z6DSzHA1oxValWRYpQ&amp;r=0&amp;pid=OfficeInsert"/><Relationship Id="rId4" Type="http://schemas.openxmlformats.org/officeDocument/2006/relationships/hyperlink" Target="http://poncier.org/blog/?cat=8" TargetMode="External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&amp;ehk=D6PlWKuG9YNJYjT79APo0w&amp;r=0&amp;pid=OfficeInsert"/><Relationship Id="rId2" Type="http://schemas.openxmlformats.org/officeDocument/2006/relationships/hyperlink" Target="https://gregorkon.wordpress.com/2016/08/16/fly-3/" TargetMode="External"/><Relationship Id="rId1" Type="http://schemas.openxmlformats.org/officeDocument/2006/relationships/image" Target="../media/image19.jpg&amp;ehk=cRk7z6DSzHA1oxValWRYpQ&amp;r=0&amp;pid=OfficeInsert"/><Relationship Id="rId4" Type="http://schemas.openxmlformats.org/officeDocument/2006/relationships/hyperlink" Target="http://poncier.org/blog/?cat=8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48DE26-C2F3-4286-8721-CE506D12874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23E8784-1C97-4FAA-8B88-B3DCD1E123F2}">
      <dgm:prSet phldrT="[Текст]"/>
      <dgm:spPr/>
      <dgm:t>
        <a:bodyPr/>
        <a:lstStyle/>
        <a:p>
          <a:r>
            <a:rPr lang="ru-RU" dirty="0"/>
            <a:t>Доступность помощи</a:t>
          </a:r>
        </a:p>
      </dgm:t>
    </dgm:pt>
    <dgm:pt modelId="{B3984FDF-8D62-4454-8024-3439F9AD73CB}" type="parTrans" cxnId="{F472BD7D-05E8-4B0A-BF9E-862ACA7FB011}">
      <dgm:prSet/>
      <dgm:spPr/>
      <dgm:t>
        <a:bodyPr/>
        <a:lstStyle/>
        <a:p>
          <a:endParaRPr lang="ru-RU"/>
        </a:p>
      </dgm:t>
    </dgm:pt>
    <dgm:pt modelId="{9DAD064A-5466-4947-8375-86F35FA5B423}" type="sibTrans" cxnId="{F472BD7D-05E8-4B0A-BF9E-862ACA7FB011}">
      <dgm:prSet/>
      <dgm:spPr/>
      <dgm:t>
        <a:bodyPr/>
        <a:lstStyle/>
        <a:p>
          <a:endParaRPr lang="ru-RU"/>
        </a:p>
      </dgm:t>
    </dgm:pt>
    <dgm:pt modelId="{EFA5F6F0-CF7F-4C2D-8CA2-B36E02849F91}">
      <dgm:prSet phldrT="[Текст]"/>
      <dgm:spPr/>
      <dgm:t>
        <a:bodyPr/>
        <a:lstStyle/>
        <a:p>
          <a:r>
            <a:rPr lang="ru-RU" dirty="0"/>
            <a:t>В местах ее предоставления</a:t>
          </a:r>
        </a:p>
      </dgm:t>
    </dgm:pt>
    <dgm:pt modelId="{ABA4E81F-BB79-4B94-B798-E52B5782ECF0}" type="parTrans" cxnId="{D7BEB01B-97CF-4EDB-9AD6-B95147296071}">
      <dgm:prSet/>
      <dgm:spPr/>
      <dgm:t>
        <a:bodyPr/>
        <a:lstStyle/>
        <a:p>
          <a:endParaRPr lang="ru-RU"/>
        </a:p>
      </dgm:t>
    </dgm:pt>
    <dgm:pt modelId="{4A297457-1DA5-4DD4-95AF-46E634F13E80}" type="sibTrans" cxnId="{D7BEB01B-97CF-4EDB-9AD6-B95147296071}">
      <dgm:prSet/>
      <dgm:spPr/>
      <dgm:t>
        <a:bodyPr/>
        <a:lstStyle/>
        <a:p>
          <a:endParaRPr lang="ru-RU"/>
        </a:p>
      </dgm:t>
    </dgm:pt>
    <dgm:pt modelId="{CDEB2D50-D91B-4A26-98E6-D89015E5521D}">
      <dgm:prSet phldrT="[Текст]"/>
      <dgm:spPr/>
      <dgm:t>
        <a:bodyPr/>
        <a:lstStyle/>
        <a:p>
          <a:r>
            <a:rPr lang="ru-RU" dirty="0"/>
            <a:t>Качество помощи</a:t>
          </a:r>
        </a:p>
      </dgm:t>
    </dgm:pt>
    <dgm:pt modelId="{C7C0614C-3068-4B3E-9FD7-2D5995775C76}" type="parTrans" cxnId="{2924F330-F5AE-46CC-88EA-CC038390040A}">
      <dgm:prSet/>
      <dgm:spPr/>
      <dgm:t>
        <a:bodyPr/>
        <a:lstStyle/>
        <a:p>
          <a:endParaRPr lang="ru-RU"/>
        </a:p>
      </dgm:t>
    </dgm:pt>
    <dgm:pt modelId="{D18467DE-E1F9-49D5-A37E-BCB3BE5EAD7D}" type="sibTrans" cxnId="{2924F330-F5AE-46CC-88EA-CC038390040A}">
      <dgm:prSet/>
      <dgm:spPr/>
      <dgm:t>
        <a:bodyPr/>
        <a:lstStyle/>
        <a:p>
          <a:endParaRPr lang="ru-RU"/>
        </a:p>
      </dgm:t>
    </dgm:pt>
    <dgm:pt modelId="{F110CE1D-E2C8-458F-B3FA-2F3F82B9CCFA}">
      <dgm:prSet phldrT="[Текст]"/>
      <dgm:spPr/>
      <dgm:t>
        <a:bodyPr/>
        <a:lstStyle/>
        <a:p>
          <a:r>
            <a:rPr lang="ru-RU" dirty="0"/>
            <a:t>Связанное с образованием</a:t>
          </a:r>
        </a:p>
      </dgm:t>
    </dgm:pt>
    <dgm:pt modelId="{C50EEECC-241A-4C43-8B8D-D643E3310BCF}" type="parTrans" cxnId="{0761A82A-CEB4-46CB-9DEC-9879D466B852}">
      <dgm:prSet/>
      <dgm:spPr/>
      <dgm:t>
        <a:bodyPr/>
        <a:lstStyle/>
        <a:p>
          <a:endParaRPr lang="ru-RU"/>
        </a:p>
      </dgm:t>
    </dgm:pt>
    <dgm:pt modelId="{2C66C671-CDDD-492F-A8C9-4BBE0A0D048A}" type="sibTrans" cxnId="{0761A82A-CEB4-46CB-9DEC-9879D466B852}">
      <dgm:prSet/>
      <dgm:spPr/>
      <dgm:t>
        <a:bodyPr/>
        <a:lstStyle/>
        <a:p>
          <a:endParaRPr lang="ru-RU"/>
        </a:p>
      </dgm:t>
    </dgm:pt>
    <dgm:pt modelId="{8498CD54-9B57-4C54-B66A-581E95735B6C}">
      <dgm:prSet phldrT="[Текст]"/>
      <dgm:spPr/>
      <dgm:t>
        <a:bodyPr/>
        <a:lstStyle/>
        <a:p>
          <a:r>
            <a:rPr lang="ru-RU" dirty="0"/>
            <a:t>Оборудованием</a:t>
          </a:r>
        </a:p>
      </dgm:t>
    </dgm:pt>
    <dgm:pt modelId="{1BCA8DC0-AF27-406C-A5A0-DAA7CEDF4544}" type="parTrans" cxnId="{5562692A-F2DB-4F7F-AECD-4149CDF706DF}">
      <dgm:prSet/>
      <dgm:spPr/>
      <dgm:t>
        <a:bodyPr/>
        <a:lstStyle/>
        <a:p>
          <a:endParaRPr lang="ru-RU"/>
        </a:p>
      </dgm:t>
    </dgm:pt>
    <dgm:pt modelId="{07C42C0F-2141-4739-A632-8D48DF23D1C5}" type="sibTrans" cxnId="{5562692A-F2DB-4F7F-AECD-4149CDF706DF}">
      <dgm:prSet/>
      <dgm:spPr/>
      <dgm:t>
        <a:bodyPr/>
        <a:lstStyle/>
        <a:p>
          <a:endParaRPr lang="ru-RU"/>
        </a:p>
      </dgm:t>
    </dgm:pt>
    <dgm:pt modelId="{D935F32A-F021-4C98-944D-BA5F2C4519D9}">
      <dgm:prSet phldrT="[Текст]"/>
      <dgm:spPr/>
      <dgm:t>
        <a:bodyPr/>
        <a:lstStyle/>
        <a:p>
          <a:r>
            <a:rPr lang="ru-RU" dirty="0"/>
            <a:t>Финансированием</a:t>
          </a:r>
        </a:p>
      </dgm:t>
    </dgm:pt>
    <dgm:pt modelId="{1289AECA-F3A9-4834-86F4-8EB66D380799}" type="parTrans" cxnId="{7DF387C5-82B5-4086-BF6D-2EF823906EAB}">
      <dgm:prSet/>
      <dgm:spPr/>
      <dgm:t>
        <a:bodyPr/>
        <a:lstStyle/>
        <a:p>
          <a:endParaRPr lang="ru-RU"/>
        </a:p>
      </dgm:t>
    </dgm:pt>
    <dgm:pt modelId="{BC555E1E-EC2D-4B03-B273-8A7CC589DA6C}" type="sibTrans" cxnId="{7DF387C5-82B5-4086-BF6D-2EF823906EAB}">
      <dgm:prSet/>
      <dgm:spPr/>
      <dgm:t>
        <a:bodyPr/>
        <a:lstStyle/>
        <a:p>
          <a:endParaRPr lang="ru-RU"/>
        </a:p>
      </dgm:t>
    </dgm:pt>
    <dgm:pt modelId="{ED8374DA-900A-4D88-9D61-49DCBE776848}" type="pres">
      <dgm:prSet presAssocID="{DD48DE26-C2F3-4286-8721-CE506D12874F}" presName="linear" presStyleCnt="0">
        <dgm:presLayoutVars>
          <dgm:dir/>
          <dgm:animLvl val="lvl"/>
          <dgm:resizeHandles val="exact"/>
        </dgm:presLayoutVars>
      </dgm:prSet>
      <dgm:spPr/>
    </dgm:pt>
    <dgm:pt modelId="{A67E102E-CC83-465D-8A0D-988FE5A466B2}" type="pres">
      <dgm:prSet presAssocID="{C23E8784-1C97-4FAA-8B88-B3DCD1E123F2}" presName="parentLin" presStyleCnt="0"/>
      <dgm:spPr/>
    </dgm:pt>
    <dgm:pt modelId="{F407E6A0-8634-478A-8952-F118B18846D3}" type="pres">
      <dgm:prSet presAssocID="{C23E8784-1C97-4FAA-8B88-B3DCD1E123F2}" presName="parentLeftMargin" presStyleLbl="node1" presStyleIdx="0" presStyleCnt="2"/>
      <dgm:spPr/>
    </dgm:pt>
    <dgm:pt modelId="{58DF9F4A-DADB-4ABD-BC24-5FA7D736808A}" type="pres">
      <dgm:prSet presAssocID="{C23E8784-1C97-4FAA-8B88-B3DCD1E123F2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5FE1A6F6-296D-4FBB-9FE8-683B7EE2DB07}" type="pres">
      <dgm:prSet presAssocID="{C23E8784-1C97-4FAA-8B88-B3DCD1E123F2}" presName="negativeSpace" presStyleCnt="0"/>
      <dgm:spPr/>
    </dgm:pt>
    <dgm:pt modelId="{BBD43C4A-7819-4F8D-BF1D-C2CC9352EF26}" type="pres">
      <dgm:prSet presAssocID="{C23E8784-1C97-4FAA-8B88-B3DCD1E123F2}" presName="childText" presStyleLbl="conFgAcc1" presStyleIdx="0" presStyleCnt="2">
        <dgm:presLayoutVars>
          <dgm:bulletEnabled val="1"/>
        </dgm:presLayoutVars>
      </dgm:prSet>
      <dgm:spPr/>
    </dgm:pt>
    <dgm:pt modelId="{56EF45BB-3BB7-4754-B8CC-664F7A20443B}" type="pres">
      <dgm:prSet presAssocID="{9DAD064A-5466-4947-8375-86F35FA5B423}" presName="spaceBetweenRectangles" presStyleCnt="0"/>
      <dgm:spPr/>
    </dgm:pt>
    <dgm:pt modelId="{C4848BDA-4013-46C8-9B38-AADBB591B287}" type="pres">
      <dgm:prSet presAssocID="{CDEB2D50-D91B-4A26-98E6-D89015E5521D}" presName="parentLin" presStyleCnt="0"/>
      <dgm:spPr/>
    </dgm:pt>
    <dgm:pt modelId="{F8765699-DAA5-4505-9304-0705C3912BFB}" type="pres">
      <dgm:prSet presAssocID="{CDEB2D50-D91B-4A26-98E6-D89015E5521D}" presName="parentLeftMargin" presStyleLbl="node1" presStyleIdx="0" presStyleCnt="2"/>
      <dgm:spPr/>
    </dgm:pt>
    <dgm:pt modelId="{D602CF75-02A6-4749-87A2-F9A6B5925CBF}" type="pres">
      <dgm:prSet presAssocID="{CDEB2D50-D91B-4A26-98E6-D89015E5521D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ECB3CC48-E99C-4E51-8823-025B88006AB6}" type="pres">
      <dgm:prSet presAssocID="{CDEB2D50-D91B-4A26-98E6-D89015E5521D}" presName="negativeSpace" presStyleCnt="0"/>
      <dgm:spPr/>
    </dgm:pt>
    <dgm:pt modelId="{3B90130F-F145-4AA8-9288-79D91F7B2184}" type="pres">
      <dgm:prSet presAssocID="{CDEB2D50-D91B-4A26-98E6-D89015E5521D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D7BEB01B-97CF-4EDB-9AD6-B95147296071}" srcId="{C23E8784-1C97-4FAA-8B88-B3DCD1E123F2}" destId="{EFA5F6F0-CF7F-4C2D-8CA2-B36E02849F91}" srcOrd="0" destOrd="0" parTransId="{ABA4E81F-BB79-4B94-B798-E52B5782ECF0}" sibTransId="{4A297457-1DA5-4DD4-95AF-46E634F13E80}"/>
    <dgm:cxn modelId="{78B8D529-D56D-4454-BE53-BB2BA09307E5}" type="presOf" srcId="{C23E8784-1C97-4FAA-8B88-B3DCD1E123F2}" destId="{58DF9F4A-DADB-4ABD-BC24-5FA7D736808A}" srcOrd="1" destOrd="0" presId="urn:microsoft.com/office/officeart/2005/8/layout/list1"/>
    <dgm:cxn modelId="{5562692A-F2DB-4F7F-AECD-4149CDF706DF}" srcId="{CDEB2D50-D91B-4A26-98E6-D89015E5521D}" destId="{8498CD54-9B57-4C54-B66A-581E95735B6C}" srcOrd="1" destOrd="0" parTransId="{1BCA8DC0-AF27-406C-A5A0-DAA7CEDF4544}" sibTransId="{07C42C0F-2141-4739-A632-8D48DF23D1C5}"/>
    <dgm:cxn modelId="{0761A82A-CEB4-46CB-9DEC-9879D466B852}" srcId="{CDEB2D50-D91B-4A26-98E6-D89015E5521D}" destId="{F110CE1D-E2C8-458F-B3FA-2F3F82B9CCFA}" srcOrd="0" destOrd="0" parTransId="{C50EEECC-241A-4C43-8B8D-D643E3310BCF}" sibTransId="{2C66C671-CDDD-492F-A8C9-4BBE0A0D048A}"/>
    <dgm:cxn modelId="{2924F330-F5AE-46CC-88EA-CC038390040A}" srcId="{DD48DE26-C2F3-4286-8721-CE506D12874F}" destId="{CDEB2D50-D91B-4A26-98E6-D89015E5521D}" srcOrd="1" destOrd="0" parTransId="{C7C0614C-3068-4B3E-9FD7-2D5995775C76}" sibTransId="{D18467DE-E1F9-49D5-A37E-BCB3BE5EAD7D}"/>
    <dgm:cxn modelId="{2B5BB568-D11B-4705-A464-73BD55E15D07}" type="presOf" srcId="{D935F32A-F021-4C98-944D-BA5F2C4519D9}" destId="{3B90130F-F145-4AA8-9288-79D91F7B2184}" srcOrd="0" destOrd="2" presId="urn:microsoft.com/office/officeart/2005/8/layout/list1"/>
    <dgm:cxn modelId="{85B0956A-FBFA-437D-A226-5172585BD345}" type="presOf" srcId="{DD48DE26-C2F3-4286-8721-CE506D12874F}" destId="{ED8374DA-900A-4D88-9D61-49DCBE776848}" srcOrd="0" destOrd="0" presId="urn:microsoft.com/office/officeart/2005/8/layout/list1"/>
    <dgm:cxn modelId="{B51DA56F-6207-4E26-8D4F-651F27E5CBC3}" type="presOf" srcId="{CDEB2D50-D91B-4A26-98E6-D89015E5521D}" destId="{D602CF75-02A6-4749-87A2-F9A6B5925CBF}" srcOrd="1" destOrd="0" presId="urn:microsoft.com/office/officeart/2005/8/layout/list1"/>
    <dgm:cxn modelId="{E93D3A70-B2E6-4129-8572-6179ED7CBC45}" type="presOf" srcId="{CDEB2D50-D91B-4A26-98E6-D89015E5521D}" destId="{F8765699-DAA5-4505-9304-0705C3912BFB}" srcOrd="0" destOrd="0" presId="urn:microsoft.com/office/officeart/2005/8/layout/list1"/>
    <dgm:cxn modelId="{ABBB2C75-46DB-44AF-8245-0CE4681130CF}" type="presOf" srcId="{C23E8784-1C97-4FAA-8B88-B3DCD1E123F2}" destId="{F407E6A0-8634-478A-8952-F118B18846D3}" srcOrd="0" destOrd="0" presId="urn:microsoft.com/office/officeart/2005/8/layout/list1"/>
    <dgm:cxn modelId="{39282058-9F82-4FC2-A9F9-43C5A04257B8}" type="presOf" srcId="{8498CD54-9B57-4C54-B66A-581E95735B6C}" destId="{3B90130F-F145-4AA8-9288-79D91F7B2184}" srcOrd="0" destOrd="1" presId="urn:microsoft.com/office/officeart/2005/8/layout/list1"/>
    <dgm:cxn modelId="{F472BD7D-05E8-4B0A-BF9E-862ACA7FB011}" srcId="{DD48DE26-C2F3-4286-8721-CE506D12874F}" destId="{C23E8784-1C97-4FAA-8B88-B3DCD1E123F2}" srcOrd="0" destOrd="0" parTransId="{B3984FDF-8D62-4454-8024-3439F9AD73CB}" sibTransId="{9DAD064A-5466-4947-8375-86F35FA5B423}"/>
    <dgm:cxn modelId="{7DF387C5-82B5-4086-BF6D-2EF823906EAB}" srcId="{CDEB2D50-D91B-4A26-98E6-D89015E5521D}" destId="{D935F32A-F021-4C98-944D-BA5F2C4519D9}" srcOrd="2" destOrd="0" parTransId="{1289AECA-F3A9-4834-86F4-8EB66D380799}" sibTransId="{BC555E1E-EC2D-4B03-B273-8A7CC589DA6C}"/>
    <dgm:cxn modelId="{B4C58CDE-E9BE-4374-B7DD-09BC14B7E1B7}" type="presOf" srcId="{F110CE1D-E2C8-458F-B3FA-2F3F82B9CCFA}" destId="{3B90130F-F145-4AA8-9288-79D91F7B2184}" srcOrd="0" destOrd="0" presId="urn:microsoft.com/office/officeart/2005/8/layout/list1"/>
    <dgm:cxn modelId="{A741D6E3-7BC6-4017-967D-D4D606116BF6}" type="presOf" srcId="{EFA5F6F0-CF7F-4C2D-8CA2-B36E02849F91}" destId="{BBD43C4A-7819-4F8D-BF1D-C2CC9352EF26}" srcOrd="0" destOrd="0" presId="urn:microsoft.com/office/officeart/2005/8/layout/list1"/>
    <dgm:cxn modelId="{0EE38103-EEEB-4FC9-A5F0-5649AE87A35F}" type="presParOf" srcId="{ED8374DA-900A-4D88-9D61-49DCBE776848}" destId="{A67E102E-CC83-465D-8A0D-988FE5A466B2}" srcOrd="0" destOrd="0" presId="urn:microsoft.com/office/officeart/2005/8/layout/list1"/>
    <dgm:cxn modelId="{809BDCD9-F25E-4DF9-9196-232065544AFB}" type="presParOf" srcId="{A67E102E-CC83-465D-8A0D-988FE5A466B2}" destId="{F407E6A0-8634-478A-8952-F118B18846D3}" srcOrd="0" destOrd="0" presId="urn:microsoft.com/office/officeart/2005/8/layout/list1"/>
    <dgm:cxn modelId="{E7C02E61-7459-46EC-8A15-3E52FBC1D205}" type="presParOf" srcId="{A67E102E-CC83-465D-8A0D-988FE5A466B2}" destId="{58DF9F4A-DADB-4ABD-BC24-5FA7D736808A}" srcOrd="1" destOrd="0" presId="urn:microsoft.com/office/officeart/2005/8/layout/list1"/>
    <dgm:cxn modelId="{7C0E30CB-B229-4502-BB38-9F71D202CA09}" type="presParOf" srcId="{ED8374DA-900A-4D88-9D61-49DCBE776848}" destId="{5FE1A6F6-296D-4FBB-9FE8-683B7EE2DB07}" srcOrd="1" destOrd="0" presId="urn:microsoft.com/office/officeart/2005/8/layout/list1"/>
    <dgm:cxn modelId="{98D4EDB2-8D26-4250-AD1B-EE820D9A591A}" type="presParOf" srcId="{ED8374DA-900A-4D88-9D61-49DCBE776848}" destId="{BBD43C4A-7819-4F8D-BF1D-C2CC9352EF26}" srcOrd="2" destOrd="0" presId="urn:microsoft.com/office/officeart/2005/8/layout/list1"/>
    <dgm:cxn modelId="{FD8F91BE-22BD-4D5D-8568-651892D80A17}" type="presParOf" srcId="{ED8374DA-900A-4D88-9D61-49DCBE776848}" destId="{56EF45BB-3BB7-4754-B8CC-664F7A20443B}" srcOrd="3" destOrd="0" presId="urn:microsoft.com/office/officeart/2005/8/layout/list1"/>
    <dgm:cxn modelId="{95A3BE63-6F90-4A43-8CE8-9E51B6F2FB4C}" type="presParOf" srcId="{ED8374DA-900A-4D88-9D61-49DCBE776848}" destId="{C4848BDA-4013-46C8-9B38-AADBB591B287}" srcOrd="4" destOrd="0" presId="urn:microsoft.com/office/officeart/2005/8/layout/list1"/>
    <dgm:cxn modelId="{56BF770F-A97B-4BF1-8A67-4D5CBA01A631}" type="presParOf" srcId="{C4848BDA-4013-46C8-9B38-AADBB591B287}" destId="{F8765699-DAA5-4505-9304-0705C3912BFB}" srcOrd="0" destOrd="0" presId="urn:microsoft.com/office/officeart/2005/8/layout/list1"/>
    <dgm:cxn modelId="{F1CC041B-9F91-42AE-9B4C-46593705316C}" type="presParOf" srcId="{C4848BDA-4013-46C8-9B38-AADBB591B287}" destId="{D602CF75-02A6-4749-87A2-F9A6B5925CBF}" srcOrd="1" destOrd="0" presId="urn:microsoft.com/office/officeart/2005/8/layout/list1"/>
    <dgm:cxn modelId="{2D874D0A-4324-459B-92B9-7B01CF19B911}" type="presParOf" srcId="{ED8374DA-900A-4D88-9D61-49DCBE776848}" destId="{ECB3CC48-E99C-4E51-8823-025B88006AB6}" srcOrd="5" destOrd="0" presId="urn:microsoft.com/office/officeart/2005/8/layout/list1"/>
    <dgm:cxn modelId="{B6BD3B45-B414-4140-849B-89765584E11E}" type="presParOf" srcId="{ED8374DA-900A-4D88-9D61-49DCBE776848}" destId="{3B90130F-F145-4AA8-9288-79D91F7B2184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CC284E-6379-4393-AE7C-D5684565846F}" type="doc">
      <dgm:prSet loTypeId="urn:microsoft.com/office/officeart/2008/layout/BendingPictureCaption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38C4EA6-19DA-4F47-8019-2A2388220845}">
      <dgm:prSet phldrT="[Текст]"/>
      <dgm:spPr/>
      <dgm:t>
        <a:bodyPr/>
        <a:lstStyle/>
        <a:p>
          <a:r>
            <a:rPr lang="ru-RU" dirty="0"/>
            <a:t>Обычное или регулярное развитие</a:t>
          </a:r>
        </a:p>
      </dgm:t>
    </dgm:pt>
    <dgm:pt modelId="{0701757D-B4B4-43F8-BF0C-040850CF1F72}" type="parTrans" cxnId="{7E3CA86D-4FD9-4F4F-A5E8-51402E925EE3}">
      <dgm:prSet/>
      <dgm:spPr/>
      <dgm:t>
        <a:bodyPr/>
        <a:lstStyle/>
        <a:p>
          <a:endParaRPr lang="ru-RU"/>
        </a:p>
      </dgm:t>
    </dgm:pt>
    <dgm:pt modelId="{1D0180B0-8706-4D53-B965-6E07503CB8FA}" type="sibTrans" cxnId="{7E3CA86D-4FD9-4F4F-A5E8-51402E925EE3}">
      <dgm:prSet/>
      <dgm:spPr/>
      <dgm:t>
        <a:bodyPr/>
        <a:lstStyle/>
        <a:p>
          <a:endParaRPr lang="ru-RU"/>
        </a:p>
      </dgm:t>
    </dgm:pt>
    <dgm:pt modelId="{DFABBF36-CC84-4F6E-9604-9D4D40AEC2A2}">
      <dgm:prSet phldrT="[Текст]"/>
      <dgm:spPr/>
      <dgm:t>
        <a:bodyPr/>
        <a:lstStyle/>
        <a:p>
          <a:r>
            <a:rPr lang="ru-RU" dirty="0"/>
            <a:t>Инновационное развитие</a:t>
          </a:r>
        </a:p>
      </dgm:t>
    </dgm:pt>
    <dgm:pt modelId="{5866792E-E419-412F-8B42-40B547A839A8}" type="parTrans" cxnId="{9127999D-145B-49AF-B97A-28746B10B19A}">
      <dgm:prSet/>
      <dgm:spPr/>
      <dgm:t>
        <a:bodyPr/>
        <a:lstStyle/>
        <a:p>
          <a:endParaRPr lang="ru-RU"/>
        </a:p>
      </dgm:t>
    </dgm:pt>
    <dgm:pt modelId="{0E1B85D2-76DB-4E26-B3D1-8CFDD44EB25A}" type="sibTrans" cxnId="{9127999D-145B-49AF-B97A-28746B10B19A}">
      <dgm:prSet/>
      <dgm:spPr/>
      <dgm:t>
        <a:bodyPr/>
        <a:lstStyle/>
        <a:p>
          <a:endParaRPr lang="ru-RU"/>
        </a:p>
      </dgm:t>
    </dgm:pt>
    <dgm:pt modelId="{D577C177-BB81-406A-A8C5-AE20D6E44F04}" type="pres">
      <dgm:prSet presAssocID="{2DCC284E-6379-4393-AE7C-D5684565846F}" presName="diagram" presStyleCnt="0">
        <dgm:presLayoutVars>
          <dgm:dir/>
        </dgm:presLayoutVars>
      </dgm:prSet>
      <dgm:spPr/>
    </dgm:pt>
    <dgm:pt modelId="{0925264D-CB21-47B9-82B3-5751021FB6F5}" type="pres">
      <dgm:prSet presAssocID="{038C4EA6-19DA-4F47-8019-2A2388220845}" presName="composite" presStyleCnt="0"/>
      <dgm:spPr/>
    </dgm:pt>
    <dgm:pt modelId="{67FD73E8-EAA0-4D7B-BC34-820C4CA656E1}" type="pres">
      <dgm:prSet presAssocID="{038C4EA6-19DA-4F47-8019-2A2388220845}" presName="Image" presStyleLbl="bgShp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11000" r="-11000"/>
          </a:stretch>
        </a:blipFill>
      </dgm:spPr>
    </dgm:pt>
    <dgm:pt modelId="{06841400-2508-4C21-92AA-4381FF436D48}" type="pres">
      <dgm:prSet presAssocID="{038C4EA6-19DA-4F47-8019-2A2388220845}" presName="Parent" presStyleLbl="node0" presStyleIdx="0" presStyleCnt="2">
        <dgm:presLayoutVars>
          <dgm:bulletEnabled val="1"/>
        </dgm:presLayoutVars>
      </dgm:prSet>
      <dgm:spPr/>
    </dgm:pt>
    <dgm:pt modelId="{FF6C4AFB-AA2C-4086-9297-3C4D48A0155B}" type="pres">
      <dgm:prSet presAssocID="{1D0180B0-8706-4D53-B965-6E07503CB8FA}" presName="sibTrans" presStyleCnt="0"/>
      <dgm:spPr/>
    </dgm:pt>
    <dgm:pt modelId="{AB345AB3-DC41-4FF5-ABB0-92B5EF1C4A76}" type="pres">
      <dgm:prSet presAssocID="{DFABBF36-CC84-4F6E-9604-9D4D40AEC2A2}" presName="composite" presStyleCnt="0"/>
      <dgm:spPr/>
    </dgm:pt>
    <dgm:pt modelId="{19891768-F027-413E-98D4-BDD229B606F9}" type="pres">
      <dgm:prSet presAssocID="{DFABBF36-CC84-4F6E-9604-9D4D40AEC2A2}" presName="Image" presStyleLbl="bgShp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1000" b="-1000"/>
          </a:stretch>
        </a:blipFill>
      </dgm:spPr>
    </dgm:pt>
    <dgm:pt modelId="{D812D0CF-FC48-489A-881A-6259D32C68AE}" type="pres">
      <dgm:prSet presAssocID="{DFABBF36-CC84-4F6E-9604-9D4D40AEC2A2}" presName="Parent" presStyleLbl="node0" presStyleIdx="1" presStyleCnt="2">
        <dgm:presLayoutVars>
          <dgm:bulletEnabled val="1"/>
        </dgm:presLayoutVars>
      </dgm:prSet>
      <dgm:spPr/>
    </dgm:pt>
  </dgm:ptLst>
  <dgm:cxnLst>
    <dgm:cxn modelId="{7E3CA86D-4FD9-4F4F-A5E8-51402E925EE3}" srcId="{2DCC284E-6379-4393-AE7C-D5684565846F}" destId="{038C4EA6-19DA-4F47-8019-2A2388220845}" srcOrd="0" destOrd="0" parTransId="{0701757D-B4B4-43F8-BF0C-040850CF1F72}" sibTransId="{1D0180B0-8706-4D53-B965-6E07503CB8FA}"/>
    <dgm:cxn modelId="{6A5D5382-D00D-44EA-BD0E-440DDE37F453}" type="presOf" srcId="{2DCC284E-6379-4393-AE7C-D5684565846F}" destId="{D577C177-BB81-406A-A8C5-AE20D6E44F04}" srcOrd="0" destOrd="0" presId="urn:microsoft.com/office/officeart/2008/layout/BendingPictureCaption"/>
    <dgm:cxn modelId="{9127999D-145B-49AF-B97A-28746B10B19A}" srcId="{2DCC284E-6379-4393-AE7C-D5684565846F}" destId="{DFABBF36-CC84-4F6E-9604-9D4D40AEC2A2}" srcOrd="1" destOrd="0" parTransId="{5866792E-E419-412F-8B42-40B547A839A8}" sibTransId="{0E1B85D2-76DB-4E26-B3D1-8CFDD44EB25A}"/>
    <dgm:cxn modelId="{C170B9D4-4F5C-4F97-A992-AFA089B85D9D}" type="presOf" srcId="{038C4EA6-19DA-4F47-8019-2A2388220845}" destId="{06841400-2508-4C21-92AA-4381FF436D48}" srcOrd="0" destOrd="0" presId="urn:microsoft.com/office/officeart/2008/layout/BendingPictureCaption"/>
    <dgm:cxn modelId="{496AD8EC-A074-49A6-86D0-EB4EBB57F80C}" type="presOf" srcId="{DFABBF36-CC84-4F6E-9604-9D4D40AEC2A2}" destId="{D812D0CF-FC48-489A-881A-6259D32C68AE}" srcOrd="0" destOrd="0" presId="urn:microsoft.com/office/officeart/2008/layout/BendingPictureCaption"/>
    <dgm:cxn modelId="{63AA3ECE-5F2F-4241-B5E1-E1C00017F61B}" type="presParOf" srcId="{D577C177-BB81-406A-A8C5-AE20D6E44F04}" destId="{0925264D-CB21-47B9-82B3-5751021FB6F5}" srcOrd="0" destOrd="0" presId="urn:microsoft.com/office/officeart/2008/layout/BendingPictureCaption"/>
    <dgm:cxn modelId="{233A1715-CDC3-478D-8A4E-BA93597A00A4}" type="presParOf" srcId="{0925264D-CB21-47B9-82B3-5751021FB6F5}" destId="{67FD73E8-EAA0-4D7B-BC34-820C4CA656E1}" srcOrd="0" destOrd="0" presId="urn:microsoft.com/office/officeart/2008/layout/BendingPictureCaption"/>
    <dgm:cxn modelId="{105523EE-14D9-4EBE-AE86-E9BE40A73378}" type="presParOf" srcId="{0925264D-CB21-47B9-82B3-5751021FB6F5}" destId="{06841400-2508-4C21-92AA-4381FF436D48}" srcOrd="1" destOrd="0" presId="urn:microsoft.com/office/officeart/2008/layout/BendingPictureCaption"/>
    <dgm:cxn modelId="{722411C8-FB81-43D5-AA0F-A2D63557834C}" type="presParOf" srcId="{D577C177-BB81-406A-A8C5-AE20D6E44F04}" destId="{FF6C4AFB-AA2C-4086-9297-3C4D48A0155B}" srcOrd="1" destOrd="0" presId="urn:microsoft.com/office/officeart/2008/layout/BendingPictureCaption"/>
    <dgm:cxn modelId="{20E90DE0-BC7B-4463-9D96-69958F7C7F85}" type="presParOf" srcId="{D577C177-BB81-406A-A8C5-AE20D6E44F04}" destId="{AB345AB3-DC41-4FF5-ABB0-92B5EF1C4A76}" srcOrd="2" destOrd="0" presId="urn:microsoft.com/office/officeart/2008/layout/BendingPictureCaption"/>
    <dgm:cxn modelId="{5B6F6B5B-76AB-4C99-A39D-EF8923C28638}" type="presParOf" srcId="{AB345AB3-DC41-4FF5-ABB0-92B5EF1C4A76}" destId="{19891768-F027-413E-98D4-BDD229B606F9}" srcOrd="0" destOrd="0" presId="urn:microsoft.com/office/officeart/2008/layout/BendingPictureCaption"/>
    <dgm:cxn modelId="{8144456B-0930-4B9E-9104-1E75CA353B95}" type="presParOf" srcId="{AB345AB3-DC41-4FF5-ABB0-92B5EF1C4A76}" destId="{D812D0CF-FC48-489A-881A-6259D32C68AE}" srcOrd="1" destOrd="0" presId="urn:microsoft.com/office/officeart/2008/layout/BendingPictureCapti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D43C4A-7819-4F8D-BF1D-C2CC9352EF26}">
      <dsp:nvSpPr>
        <dsp:cNvPr id="0" name=""/>
        <dsp:cNvSpPr/>
      </dsp:nvSpPr>
      <dsp:spPr>
        <a:xfrm>
          <a:off x="0" y="575208"/>
          <a:ext cx="10585176" cy="14883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1527" tIns="728980" rIns="821527" bIns="248920" numCol="1" spcCol="1270" anchor="t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500" kern="1200" dirty="0"/>
            <a:t>В местах ее предоставления</a:t>
          </a:r>
        </a:p>
      </dsp:txBody>
      <dsp:txXfrm>
        <a:off x="0" y="575208"/>
        <a:ext cx="10585176" cy="1488375"/>
      </dsp:txXfrm>
    </dsp:sp>
    <dsp:sp modelId="{58DF9F4A-DADB-4ABD-BC24-5FA7D736808A}">
      <dsp:nvSpPr>
        <dsp:cNvPr id="0" name=""/>
        <dsp:cNvSpPr/>
      </dsp:nvSpPr>
      <dsp:spPr>
        <a:xfrm>
          <a:off x="529258" y="58608"/>
          <a:ext cx="7409623" cy="10332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66" tIns="0" rIns="280066" bIns="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500" kern="1200" dirty="0"/>
            <a:t>Доступность помощи</a:t>
          </a:r>
        </a:p>
      </dsp:txBody>
      <dsp:txXfrm>
        <a:off x="579695" y="109045"/>
        <a:ext cx="7308749" cy="932326"/>
      </dsp:txXfrm>
    </dsp:sp>
    <dsp:sp modelId="{3B90130F-F145-4AA8-9288-79D91F7B2184}">
      <dsp:nvSpPr>
        <dsp:cNvPr id="0" name=""/>
        <dsp:cNvSpPr/>
      </dsp:nvSpPr>
      <dsp:spPr>
        <a:xfrm>
          <a:off x="0" y="2769183"/>
          <a:ext cx="10585176" cy="25908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1527" tIns="728980" rIns="821527" bIns="248920" numCol="1" spcCol="1270" anchor="t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500" kern="1200" dirty="0"/>
            <a:t>Связанное с образованием</a:t>
          </a:r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500" kern="1200" dirty="0"/>
            <a:t>Оборудованием</a:t>
          </a:r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500" kern="1200" dirty="0"/>
            <a:t>Финансированием</a:t>
          </a:r>
        </a:p>
      </dsp:txBody>
      <dsp:txXfrm>
        <a:off x="0" y="2769183"/>
        <a:ext cx="10585176" cy="2590875"/>
      </dsp:txXfrm>
    </dsp:sp>
    <dsp:sp modelId="{D602CF75-02A6-4749-87A2-F9A6B5925CBF}">
      <dsp:nvSpPr>
        <dsp:cNvPr id="0" name=""/>
        <dsp:cNvSpPr/>
      </dsp:nvSpPr>
      <dsp:spPr>
        <a:xfrm>
          <a:off x="529258" y="2252583"/>
          <a:ext cx="7409623" cy="10332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66" tIns="0" rIns="280066" bIns="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500" kern="1200" dirty="0"/>
            <a:t>Качество помощи</a:t>
          </a:r>
        </a:p>
      </dsp:txBody>
      <dsp:txXfrm>
        <a:off x="579695" y="2303020"/>
        <a:ext cx="7308749" cy="93232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FD73E8-EAA0-4D7B-BC34-820C4CA656E1}">
      <dsp:nvSpPr>
        <dsp:cNvPr id="0" name=""/>
        <dsp:cNvSpPr/>
      </dsp:nvSpPr>
      <dsp:spPr>
        <a:xfrm>
          <a:off x="1854" y="361537"/>
          <a:ext cx="4954252" cy="366117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11000" r="-11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841400-2508-4C21-92AA-4381FF436D48}">
      <dsp:nvSpPr>
        <dsp:cNvPr id="0" name=""/>
        <dsp:cNvSpPr/>
      </dsp:nvSpPr>
      <dsp:spPr>
        <a:xfrm>
          <a:off x="1003245" y="3358872"/>
          <a:ext cx="4269089" cy="10259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ru-RU" sz="3200" kern="1200" dirty="0"/>
            <a:t>Обычное или регулярное развитие</a:t>
          </a:r>
        </a:p>
      </dsp:txBody>
      <dsp:txXfrm>
        <a:off x="1003245" y="3358872"/>
        <a:ext cx="4269089" cy="1025933"/>
      </dsp:txXfrm>
    </dsp:sp>
    <dsp:sp modelId="{19891768-F027-413E-98D4-BDD229B606F9}">
      <dsp:nvSpPr>
        <dsp:cNvPr id="0" name=""/>
        <dsp:cNvSpPr/>
      </dsp:nvSpPr>
      <dsp:spPr>
        <a:xfrm>
          <a:off x="6248944" y="361537"/>
          <a:ext cx="4954252" cy="366117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1000" b="-1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12D0CF-FC48-489A-881A-6259D32C68AE}">
      <dsp:nvSpPr>
        <dsp:cNvPr id="0" name=""/>
        <dsp:cNvSpPr/>
      </dsp:nvSpPr>
      <dsp:spPr>
        <a:xfrm>
          <a:off x="7250335" y="3358872"/>
          <a:ext cx="4269089" cy="10259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ru-RU" sz="3200" kern="1200" dirty="0"/>
            <a:t>Инновационное развитие</a:t>
          </a:r>
        </a:p>
      </dsp:txBody>
      <dsp:txXfrm>
        <a:off x="7250335" y="3358872"/>
        <a:ext cx="4269089" cy="10259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BendingPictureCaption">
  <dgm:title val=""/>
  <dgm:desc val=""/>
  <dgm:catLst>
    <dgm:cat type="picture" pri="6000"/>
    <dgm:cat type="pictureconvert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7" srcId="0" destId="1" srcOrd="0" destOrd="0"/>
        <dgm:cxn modelId="8" srcId="0" destId="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diagram">
    <dgm:varLst>
      <dgm:dir/>
    </dgm:varLst>
    <dgm:choose name="Name0">
      <dgm:if name="Name1" func="var" arg="dir" op="equ" val="norm">
        <dgm:alg type="snake">
          <dgm:param type="off" val="ctr"/>
        </dgm:alg>
      </dgm:if>
      <dgm:else name="Name2">
        <dgm:alg type="snake">
          <dgm:param type="grDir" val="tR"/>
          <dgm:param type="off" val="c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Image" refType="w" fact="0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.19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if>
          <dgm:else name="Name5">
            <dgm:constrLst>
              <dgm:constr type="l" for="ch" forName="Image" refType="w" fact="0.06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else>
        </dgm:choose>
        <dgm:layoutNode name="Image" styleLbl="bgShp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Parent" styleLbl="node0">
          <dgm:varLst>
            <dgm:bulletEnabled val="1"/>
          </dgm:varLst>
          <dgm:alg type="tx">
            <dgm:param type="txAnchorVertCh" val="mid"/>
            <dgm:param type="shpTxRTLAlignCh" val="r"/>
            <dgm:param type="lnSpAfParP" val="5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D806D067-8485-4540-B774-7FAC355C6FD5}" type="datetimeFigureOut">
              <a:rPr lang="ru-RU" smtClean="0"/>
              <a:t>17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127D9D3E-C465-4432-9E9B-CE15A132560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3967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4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311574" y="233680"/>
            <a:ext cx="11579791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127" y="6329934"/>
            <a:ext cx="2135971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43339" y="6237312"/>
            <a:ext cx="768085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4000" y="460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487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Sector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_Date</a:t>
            </a:r>
          </a:p>
          <a:p>
            <a:pPr lvl="0"/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0"/>
            <a:ext cx="9984000" cy="7674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Main Title in Title Cas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104899" y="2819400"/>
            <a:ext cx="9984000" cy="609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3600" i="1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Sub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801059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dark blu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3339" y="6237312"/>
            <a:ext cx="11713301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311574" y="233680"/>
            <a:ext cx="11579791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Calibri"/>
            </a:endParaRPr>
          </a:p>
        </p:txBody>
      </p:sp>
      <p:pic>
        <p:nvPicPr>
          <p:cNvPr id="8" name="Picture 7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127" y="6329934"/>
            <a:ext cx="2135971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=""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/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4000" y="460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487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Sector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_</a:t>
            </a:r>
            <a:r>
              <a:rPr lang="en-US" sz="1600" noProof="0" dirty="0">
                <a:solidFill>
                  <a:srgbClr val="FFFFFF"/>
                </a:solidFill>
                <a:latin typeface="+mn-lt"/>
              </a:rPr>
              <a:t>November 01, 2013</a:t>
            </a:r>
          </a:p>
          <a:p>
            <a:pPr lvl="0"/>
            <a:endParaRPr lang="en-US" noProof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3445" y="6399594"/>
            <a:ext cx="2304256" cy="26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48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9403" y="450000"/>
            <a:ext cx="10753195" cy="100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sz="3200"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1103445" y="6493227"/>
            <a:ext cx="1278141" cy="144000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00" smtClean="0">
                <a:solidFill>
                  <a:srgbClr val="7F7F7F"/>
                </a:solidFill>
                <a:latin typeface="Calibri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669880" y="6493227"/>
            <a:ext cx="4287765" cy="144000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00">
                <a:solidFill>
                  <a:srgbClr val="7F7F7F"/>
                </a:solidFill>
                <a:latin typeface="Calibri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01165" y="6466431"/>
            <a:ext cx="355600" cy="200313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1200" smtClean="0">
                <a:solidFill>
                  <a:srgbClr val="7F7F7F"/>
                </a:solidFill>
                <a:latin typeface="Calibri"/>
              </a:defRPr>
            </a:lvl1pPr>
          </a:lstStyle>
          <a:p>
            <a:fld id="{793332C0-45F3-49F7-8962-3AD7701CBA4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3610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1" y="0"/>
            <a:ext cx="12167419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43339" y="6237312"/>
            <a:ext cx="508792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0"/>
            <a:ext cx="9984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</a:defRPr>
            </a:lvl1pPr>
            <a:lvl2pPr>
              <a:defRPr sz="3600"/>
            </a:lvl2pPr>
            <a:lvl3pPr>
              <a:defRPr sz="3600"/>
            </a:lvl3pPr>
            <a:lvl4pPr>
              <a:defRPr sz="3600"/>
            </a:lvl4pPr>
            <a:lvl5pPr>
              <a:defRPr sz="3600"/>
            </a:lvl5pPr>
          </a:lstStyle>
          <a:p>
            <a:pPr lvl="0"/>
            <a:r>
              <a:rPr lang="en-US" noProof="0" dirty="0"/>
              <a:t>Secure Parenting Solutions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_</a:t>
            </a:r>
            <a:r>
              <a:rPr lang="en-US" sz="1200" noProof="0" dirty="0">
                <a:solidFill>
                  <a:srgbClr val="FFFFFF"/>
                </a:solidFill>
                <a:latin typeface="+mn-lt"/>
              </a:rPr>
              <a:t>Date</a:t>
            </a:r>
          </a:p>
          <a:p>
            <a:pPr lvl="0"/>
            <a:endParaRPr lang="en-US" noProof="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4000" y="488096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3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9663" y="6289867"/>
            <a:ext cx="1728192" cy="26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27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104000" y="828000"/>
            <a:ext cx="9984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6088" y="6357842"/>
            <a:ext cx="1440011" cy="266732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1368000"/>
            <a:ext cx="9984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5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104897" y="2124000"/>
            <a:ext cx="9984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162000" indent="-162000">
              <a:spcBef>
                <a:spcPts val="0"/>
              </a:spcBef>
              <a:defRPr sz="1350"/>
            </a:lvl1pPr>
            <a:lvl2pPr marL="324000" indent="-162000">
              <a:spcBef>
                <a:spcPts val="0"/>
              </a:spcBef>
              <a:defRPr sz="1350"/>
            </a:lvl2pPr>
            <a:lvl3pPr marL="486000" indent="-162000">
              <a:spcBef>
                <a:spcPts val="0"/>
              </a:spcBef>
              <a:buFont typeface="Wingdings" panose="05000000000000000000" pitchFamily="2" charset="2"/>
              <a:buChar char="§"/>
              <a:defRPr sz="1350"/>
            </a:lvl3pPr>
            <a:lvl4pPr marL="648000" indent="-162000">
              <a:spcBef>
                <a:spcPts val="0"/>
              </a:spcBef>
              <a:buFont typeface="Arial" panose="020B0604020202020204" pitchFamily="34" charset="0"/>
              <a:buChar char="•"/>
              <a:defRPr sz="1350"/>
            </a:lvl4pPr>
            <a:lvl5pPr marL="810000" indent="-17145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5pPr>
            <a:lvl6pPr marL="972000" indent="-17145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6pPr>
            <a:lvl7pPr marL="1134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7pPr>
            <a:lvl8pPr marL="1296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8pPr>
            <a:lvl9pPr marL="1458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4313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He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550">
                <a:solidFill>
                  <a:srgbClr val="FFFFFF"/>
                </a:solidFill>
              </a:rP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557435651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311574" y="233680"/>
            <a:ext cx="11579791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127" y="6329934"/>
            <a:ext cx="2135971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43339" y="6237312"/>
            <a:ext cx="768085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4000" y="460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487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Sector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_Date</a:t>
            </a:r>
          </a:p>
          <a:p>
            <a:pPr lvl="0"/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0"/>
            <a:ext cx="9984000" cy="7674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Main Title in Title Cas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104899" y="2819400"/>
            <a:ext cx="9984000" cy="609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3600" i="1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Sub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8281195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noProof="0" dirty="0"/>
              <a:t>Main title in 28pt – subtitle in 20pt italic blu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3" y="1600201"/>
            <a:ext cx="111379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0010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Main title in 28pt – subtitle in 20pt italic bl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5329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04899" y="2052000"/>
            <a:ext cx="9984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04900" y="1368000"/>
            <a:ext cx="9984317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2601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805383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0544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noProof="0" dirty="0"/>
              <a:t>Main title in 28pt – subtitle in 20pt italic blu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3" y="1600201"/>
            <a:ext cx="111379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1296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000" y="2628000"/>
            <a:ext cx="1680229" cy="160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51599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104000" y="828000"/>
            <a:ext cx="9984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6087" y="6425946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1368000"/>
            <a:ext cx="9984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104897" y="2124000"/>
            <a:ext cx="9984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7510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</a:endParaRPr>
          </a:p>
        </p:txBody>
      </p:sp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283" y="2628012"/>
            <a:ext cx="1657435" cy="1601991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716000"/>
            <a:ext cx="12192000" cy="6660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746423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311574" y="233680"/>
            <a:ext cx="11579791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127" y="6329934"/>
            <a:ext cx="2135971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43339" y="6237312"/>
            <a:ext cx="768085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4000" y="460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487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Sector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_Date</a:t>
            </a:r>
          </a:p>
          <a:p>
            <a:pPr lvl="0"/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0"/>
            <a:ext cx="9984000" cy="7674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Main Title in Title Cas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104899" y="2819400"/>
            <a:ext cx="9984000" cy="609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3600" i="1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Sub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7576857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noProof="0" dirty="0"/>
              <a:t>Main title in 28pt – subtitle in 20pt italic blu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3" y="1600201"/>
            <a:ext cx="111379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61624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Main title in 28pt – subtitle in 20pt italic bl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251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04899" y="2052000"/>
            <a:ext cx="9984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04900" y="1368000"/>
            <a:ext cx="9984317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55901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805383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296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000" y="2628000"/>
            <a:ext cx="1680229" cy="160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99611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le and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1104902" y="2124078"/>
            <a:ext cx="4889500" cy="3959225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197602" y="2124078"/>
            <a:ext cx="4889500" cy="3959225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ußzeilenplatzhalter 1" hidden="1"/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Datumsplatzhalter 2" hidden="1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>
          <a:xfrm>
            <a:off x="2116667" y="6502400"/>
            <a:ext cx="5249333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9DEA1E8-67C3-4589-B6DB-7C774B11A566}" type="datetimeFigureOut">
              <a:rPr lang="ru-RU" smtClean="0"/>
              <a:t>17.04.2018</a:t>
            </a:fld>
            <a:endParaRPr lang="ru-RU"/>
          </a:p>
        </p:txBody>
      </p:sp>
      <p:sp>
        <p:nvSpPr>
          <p:cNvPr id="7" name="Foliennummernplatzhalter 3" hidden="1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372BD1F7-EAE3-47C9-988F-19330199DE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5899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Main title in 28pt – subtitle in 20pt italic bl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9774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 hasCustomPrompt="1"/>
          </p:nvPr>
        </p:nvSpPr>
        <p:spPr>
          <a:xfrm>
            <a:off x="1104902" y="2124078"/>
            <a:ext cx="4889500" cy="1903413"/>
          </a:xfrm>
        </p:spPr>
        <p:txBody>
          <a:bodyPr/>
          <a:lstStyle>
            <a:lvl1pPr marL="0" indent="0">
              <a:buNone/>
              <a:defRPr sz="1200" baseline="0"/>
            </a:lvl1pPr>
            <a:lvl2pPr marL="135000" indent="0">
              <a:buNone/>
              <a:defRPr sz="1200"/>
            </a:lvl2pPr>
            <a:lvl3pPr marL="270000" indent="0">
              <a:buNone/>
              <a:defRPr sz="1200"/>
            </a:lvl3pPr>
            <a:lvl4pPr marL="405000" indent="0">
              <a:buNone/>
              <a:defRPr sz="1200"/>
            </a:lvl4pPr>
            <a:lvl5pPr marL="540000" indent="0">
              <a:buNone/>
              <a:defRPr sz="1200"/>
            </a:lvl5pPr>
          </a:lstStyle>
          <a:p>
            <a:pPr lvl="0"/>
            <a:r>
              <a:rPr lang="en-US" dirty="0"/>
              <a:t>Choose icon to add imag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 hasCustomPrompt="1"/>
          </p:nvPr>
        </p:nvSpPr>
        <p:spPr>
          <a:xfrm>
            <a:off x="6197602" y="2124078"/>
            <a:ext cx="4889500" cy="1903413"/>
          </a:xfrm>
        </p:spPr>
        <p:txBody>
          <a:bodyPr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Calibri" pitchFamily="34" charset="0"/>
              <a:buNone/>
              <a:tabLst/>
              <a:defRPr sz="1200" baseline="0"/>
            </a:lvl1pPr>
            <a:lvl2pPr marL="135000" indent="0">
              <a:buNone/>
              <a:defRPr sz="1200"/>
            </a:lvl2pPr>
            <a:lvl3pPr marL="270000" indent="0">
              <a:buNone/>
              <a:defRPr sz="1200"/>
            </a:lvl3pPr>
            <a:lvl4pPr marL="405000" indent="0">
              <a:buNone/>
              <a:defRPr sz="1200"/>
            </a:lvl4pPr>
            <a:lvl5pPr marL="540000" indent="0">
              <a:buNone/>
              <a:defRPr sz="1200"/>
            </a:lvl5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Calibri" pitchFamily="34" charset="0"/>
              <a:buNone/>
              <a:tabLst/>
              <a:defRPr/>
            </a:pPr>
            <a:r>
              <a:rPr lang="en-US" dirty="0"/>
              <a:t>Choose icon to add image</a:t>
            </a:r>
          </a:p>
          <a:p>
            <a:pPr lvl="0"/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1104902" y="4179888"/>
            <a:ext cx="4889500" cy="1903412"/>
          </a:xfrm>
        </p:spPr>
        <p:txBody>
          <a:bodyPr/>
          <a:lstStyle>
            <a:lvl1pPr marL="135000" indent="-135000">
              <a:defRPr sz="1200"/>
            </a:lvl1pPr>
            <a:lvl2pPr marL="270000" indent="-135000">
              <a:defRPr sz="1200"/>
            </a:lvl2pPr>
            <a:lvl3pPr marL="405000" indent="-135000">
              <a:defRPr sz="1200"/>
            </a:lvl3pPr>
            <a:lvl4pPr marL="540000" indent="-135000">
              <a:defRPr sz="1200"/>
            </a:lvl4pPr>
            <a:lvl5pPr marL="675000" indent="-135000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7602" y="4179888"/>
            <a:ext cx="4889500" cy="1903412"/>
          </a:xfrm>
        </p:spPr>
        <p:txBody>
          <a:bodyPr/>
          <a:lstStyle>
            <a:lvl1pPr marL="135000" indent="-135000">
              <a:defRPr sz="1200"/>
            </a:lvl1pPr>
            <a:lvl2pPr marL="270000" indent="-135000">
              <a:defRPr sz="1200"/>
            </a:lvl2pPr>
            <a:lvl3pPr marL="405000" indent="-135000">
              <a:defRPr sz="1200"/>
            </a:lvl3pPr>
            <a:lvl4pPr marL="540000" indent="-135000">
              <a:defRPr sz="1200"/>
            </a:lvl4pPr>
            <a:lvl5pPr marL="675000" indent="-135000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ußzeilenplatzhalter 1" hidden="1"/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8" name="Datumsplatzhalter 2" hidden="1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>
          <a:xfrm>
            <a:off x="2116667" y="6502400"/>
            <a:ext cx="5249333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9DEA1E8-67C3-4589-B6DB-7C774B11A566}" type="datetimeFigureOut">
              <a:rPr lang="ru-RU" smtClean="0"/>
              <a:t>17.04.2018</a:t>
            </a:fld>
            <a:endParaRPr lang="ru-RU"/>
          </a:p>
        </p:txBody>
      </p:sp>
      <p:sp>
        <p:nvSpPr>
          <p:cNvPr id="9" name="Foliennummernplatzhalter 3" hidden="1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372BD1F7-EAE3-47C9-988F-19330199DE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71360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1104902" y="2124078"/>
            <a:ext cx="4889500" cy="3959225"/>
          </a:xfrm>
        </p:spPr>
        <p:txBody>
          <a:bodyPr/>
          <a:lstStyle>
            <a:lvl1pPr marL="135000" indent="-135000">
              <a:defRPr sz="1200"/>
            </a:lvl1pPr>
            <a:lvl2pPr marL="270000" indent="-135000">
              <a:defRPr sz="1200"/>
            </a:lvl2pPr>
            <a:lvl3pPr marL="405000" indent="-135000">
              <a:defRPr sz="1200"/>
            </a:lvl3pPr>
            <a:lvl4pPr marL="540000" indent="-135000">
              <a:defRPr sz="1200"/>
            </a:lvl4pPr>
            <a:lvl5pPr marL="675000" indent="-135000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97602" y="2124078"/>
            <a:ext cx="4889500" cy="3959225"/>
          </a:xfrm>
        </p:spPr>
        <p:txBody>
          <a:bodyPr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Calibri" pitchFamily="34" charset="0"/>
              <a:buNone/>
              <a:tabLst/>
              <a:defRPr sz="1200" baseline="0"/>
            </a:lvl1pPr>
            <a:lvl2pPr marL="135000" indent="0">
              <a:buNone/>
              <a:defRPr sz="1200"/>
            </a:lvl2pPr>
            <a:lvl3pPr marL="270000" indent="0">
              <a:buNone/>
              <a:defRPr sz="1200"/>
            </a:lvl3pPr>
            <a:lvl4pPr marL="405000" indent="0">
              <a:buNone/>
              <a:defRPr sz="1200"/>
            </a:lvl4pPr>
            <a:lvl5pPr marL="540000" indent="0">
              <a:buNone/>
              <a:defRPr sz="1200"/>
            </a:lvl5pPr>
          </a:lstStyle>
          <a:p>
            <a:pPr lvl="0"/>
            <a:r>
              <a:rPr lang="en-US" dirty="0"/>
              <a:t>Choose icon to add image</a:t>
            </a:r>
          </a:p>
        </p:txBody>
      </p:sp>
      <p:sp>
        <p:nvSpPr>
          <p:cNvPr id="5" name="Fußzeilenplatzhalter 1" hidden="1"/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Datumsplatzhalter 2" hidden="1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>
          <a:xfrm>
            <a:off x="2116667" y="6502400"/>
            <a:ext cx="5249333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9DEA1E8-67C3-4589-B6DB-7C774B11A566}" type="datetimeFigureOut">
              <a:rPr lang="ru-RU" smtClean="0"/>
              <a:t>17.04.2018</a:t>
            </a:fld>
            <a:endParaRPr lang="ru-RU"/>
          </a:p>
        </p:txBody>
      </p:sp>
      <p:sp>
        <p:nvSpPr>
          <p:cNvPr id="7" name="Foliennummernplatzhalter 3" hidden="1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372BD1F7-EAE3-47C9-988F-19330199DE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77653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04902" y="2124078"/>
            <a:ext cx="4889500" cy="3959225"/>
          </a:xfrm>
        </p:spPr>
        <p:txBody>
          <a:bodyPr/>
          <a:lstStyle>
            <a:lvl1pPr marL="0" indent="0">
              <a:buNone/>
              <a:defRPr/>
            </a:lvl1pPr>
            <a:lvl2pPr marL="161925" indent="0">
              <a:buNone/>
              <a:defRPr/>
            </a:lvl2pPr>
            <a:lvl3pPr marL="323850" indent="0">
              <a:buNone/>
              <a:defRPr/>
            </a:lvl3pPr>
            <a:lvl4pPr marL="485775" indent="0">
              <a:buNone/>
              <a:defRPr/>
            </a:lvl4pPr>
            <a:lvl5pPr marL="647700" indent="0">
              <a:buNone/>
              <a:defRPr/>
            </a:lvl5pPr>
          </a:lstStyle>
          <a:p>
            <a:pPr lvl="0"/>
            <a:r>
              <a:rPr lang="en-US"/>
              <a:t>Choose icon to add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97602" y="2124078"/>
            <a:ext cx="4889500" cy="3959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7425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104003" y="2052004"/>
            <a:ext cx="9983995" cy="1619999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/>
          <a:lstStyle>
            <a:lvl1pPr algn="l">
              <a:spcBef>
                <a:spcPts val="0"/>
              </a:spcBef>
              <a:spcAft>
                <a:spcPts val="0"/>
              </a:spcAft>
              <a:buFontTx/>
              <a:buNone/>
              <a:defRPr sz="48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 hidden="1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100667" y="6350000"/>
            <a:ext cx="1016000" cy="139700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 marL="0" indent="0" algn="l">
              <a:buClrTx/>
              <a:buSzPct val="100000"/>
              <a:buFontTx/>
              <a:buNone/>
              <a:defRPr sz="1800" b="0" i="0" u="none">
                <a:solidFill>
                  <a:srgbClr val="FFFFFF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1100667" y="6502400"/>
            <a:ext cx="1016000" cy="139700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279400" y="6464300"/>
            <a:ext cx="677333" cy="184150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72BD1F7-EAE3-47C9-988F-19330199DEE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3"/>
            <p:custDataLst>
              <p:tags r:id="rId5"/>
            </p:custDataLst>
          </p:nvPr>
        </p:nvSpPr>
        <p:spPr>
          <a:xfrm>
            <a:off x="2116667" y="6502400"/>
            <a:ext cx="5249333" cy="139700"/>
          </a:xfrm>
          <a:prstGeom prst="rect">
            <a:avLst/>
          </a:prstGeo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55330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2116667" y="6502400"/>
            <a:ext cx="5249333" cy="139700"/>
          </a:xfrm>
          <a:prstGeom prst="rect">
            <a:avLst/>
          </a:prstGeom>
        </p:spPr>
        <p:txBody>
          <a:bodyPr/>
          <a:lstStyle/>
          <a:p>
            <a:fld id="{49DEA1E8-67C3-4589-B6DB-7C774B11A566}" type="datetimeFigureOut">
              <a:rPr lang="ru-RU" smtClean="0"/>
              <a:t>17.04.2018</a:t>
            </a:fld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BD1F7-EAE3-47C9-988F-19330199DE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43201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311574" y="233680"/>
            <a:ext cx="11579791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127" y="6329934"/>
            <a:ext cx="2135971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43339" y="6237312"/>
            <a:ext cx="768085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4000" y="460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487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Sector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_Date</a:t>
            </a:r>
          </a:p>
          <a:p>
            <a:pPr lvl="0"/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0"/>
            <a:ext cx="9984000" cy="7674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Main Title in Title Cas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104899" y="2819400"/>
            <a:ext cx="9984000" cy="609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3600" i="1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Sub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26408436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noProof="0" dirty="0"/>
              <a:t>Main title in 28pt – subtitle in 20pt italic blu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3" y="1600201"/>
            <a:ext cx="111379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8218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Main title in 28pt – subtitle in 20pt italic bl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4968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04899" y="2052000"/>
            <a:ext cx="9984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04900" y="1368000"/>
            <a:ext cx="9984317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9635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7805383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488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04899" y="2052000"/>
            <a:ext cx="9984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04900" y="1368000"/>
            <a:ext cx="9984317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02189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000" y="2628000"/>
            <a:ext cx="1680229" cy="160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03198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311574" y="233680"/>
            <a:ext cx="11579791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0"/>
            <a:ext cx="9984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0127" y="6329934"/>
            <a:ext cx="2135971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43339" y="6237312"/>
            <a:ext cx="768085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4000" y="460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_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487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_Sector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_</a:t>
            </a:r>
            <a:r>
              <a:rPr lang="en-US" sz="1600" dirty="0">
                <a:solidFill>
                  <a:srgbClr val="FFFFFF"/>
                </a:solidFill>
                <a:latin typeface="+mn-lt"/>
              </a:rPr>
              <a:t>November 01, 2013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40125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104000" y="828000"/>
            <a:ext cx="9984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6087" y="6425946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1368000"/>
            <a:ext cx="9984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104897" y="2124000"/>
            <a:ext cx="9984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51697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6087" y="6425946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Inhaltsplatzhalter 6"/>
          <p:cNvSpPr>
            <a:spLocks noGrp="1"/>
          </p:cNvSpPr>
          <p:nvPr>
            <p:ph sz="half" idx="2" hasCustomPrompt="1"/>
            <p:custDataLst>
              <p:tags r:id="rId2"/>
            </p:custDataLst>
          </p:nvPr>
        </p:nvSpPr>
        <p:spPr>
          <a:xfrm>
            <a:off x="2" y="-1"/>
            <a:ext cx="4649724" cy="6858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 marL="0" indent="0"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dirty="0" err="1">
                <a:solidFill>
                  <a:srgbClr val="FFFFFF"/>
                </a:solidFill>
              </a:rPr>
              <a:t>Choose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icon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to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add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imag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328000" y="828000"/>
            <a:ext cx="5760000" cy="5400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328000" y="1368000"/>
            <a:ext cx="5760000" cy="41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328000" y="2123999"/>
            <a:ext cx="5760000" cy="3960000"/>
          </a:xfrm>
          <a:prstGeom prst="rect">
            <a:avLst/>
          </a:prstGeom>
        </p:spPr>
        <p:txBody>
          <a:bodyPr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16000">
              <a:spcBef>
                <a:spcPts val="0"/>
              </a:spcBef>
              <a:buFont typeface="Calibri" panose="020F0502020204030204" pitchFamily="34" charset="0"/>
              <a:buChar char="─"/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1613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6087" y="6425946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Inhaltsplatzhalter 6"/>
          <p:cNvSpPr>
            <a:spLocks noGrp="1"/>
          </p:cNvSpPr>
          <p:nvPr>
            <p:ph sz="half" idx="2" hasCustomPrompt="1"/>
            <p:custDataLst>
              <p:tags r:id="rId2"/>
            </p:custDataLst>
          </p:nvPr>
        </p:nvSpPr>
        <p:spPr>
          <a:xfrm>
            <a:off x="1" y="2123999"/>
            <a:ext cx="7541260" cy="3960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 marL="0" indent="0"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r>
              <a:rPr lang="de-DE" dirty="0" err="1">
                <a:solidFill>
                  <a:srgbClr val="FFFFFF"/>
                </a:solidFill>
              </a:rPr>
              <a:t>Choose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icon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to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add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imag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104000" y="828000"/>
            <a:ext cx="9984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1368000"/>
            <a:ext cx="9984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872000" y="2124000"/>
            <a:ext cx="3216000" cy="396000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2"/>
            <a:r>
              <a:rPr lang="de-DE" sz="1600" dirty="0"/>
              <a:t>Click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ext</a:t>
            </a:r>
            <a:endParaRPr lang="de-DE" sz="1600" dirty="0"/>
          </a:p>
          <a:p>
            <a:pPr lvl="3"/>
            <a:r>
              <a:rPr lang="de-DE" sz="1600" dirty="0"/>
              <a:t>Click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ext</a:t>
            </a:r>
            <a:endParaRPr lang="de-DE" sz="1600" dirty="0"/>
          </a:p>
          <a:p>
            <a:pPr lvl="4"/>
            <a:r>
              <a:rPr lang="de-DE" sz="1600" dirty="0"/>
              <a:t>Click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ext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8062830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6087" y="6425946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Inhaltsplatzhalter 13"/>
          <p:cNvSpPr>
            <a:spLocks noGrp="1"/>
          </p:cNvSpPr>
          <p:nvPr>
            <p:ph sz="quarter" idx="2" hasCustomPrompt="1"/>
            <p:custDataLst>
              <p:tags r:id="rId2"/>
            </p:custDataLst>
          </p:nvPr>
        </p:nvSpPr>
        <p:spPr>
          <a:xfrm>
            <a:off x="6384005" y="2123999"/>
            <a:ext cx="4703996" cy="262799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 marL="0" indent="0">
              <a:buFontTx/>
              <a:buNone/>
              <a:defRPr sz="2200"/>
            </a:lvl1pPr>
          </a:lstStyle>
          <a:p>
            <a:r>
              <a:rPr lang="de-DE" dirty="0" err="1">
                <a:solidFill>
                  <a:srgbClr val="FFFFFF"/>
                </a:solidFill>
              </a:rPr>
              <a:t>Choose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icon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to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add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imag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Inhaltsplatzhalter 14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1104005" y="2123999"/>
            <a:ext cx="4703996" cy="262799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/>
          <a:lstStyle>
            <a:lvl1pPr marL="0" indent="0">
              <a:buFontTx/>
              <a:buNone/>
              <a:defRPr sz="2200"/>
            </a:lvl1pPr>
          </a:lstStyle>
          <a:p>
            <a:r>
              <a:rPr lang="de-DE" dirty="0" err="1">
                <a:solidFill>
                  <a:srgbClr val="FFFFFF"/>
                </a:solidFill>
              </a:rPr>
              <a:t>Choose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icon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to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add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dirty="0" err="1">
                <a:solidFill>
                  <a:srgbClr val="FFFFFF"/>
                </a:solidFill>
              </a:rPr>
              <a:t>imag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104000" y="828000"/>
            <a:ext cx="9984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1368000"/>
            <a:ext cx="9984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104899" y="5004000"/>
            <a:ext cx="4704000" cy="111600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2"/>
            <a:r>
              <a:rPr lang="de-DE" sz="1600" dirty="0"/>
              <a:t>Click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ext</a:t>
            </a:r>
            <a:endParaRPr lang="de-DE" sz="1600" dirty="0"/>
          </a:p>
          <a:p>
            <a:pPr lvl="3"/>
            <a:r>
              <a:rPr lang="de-DE" sz="1600" dirty="0"/>
              <a:t>Click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ext</a:t>
            </a:r>
            <a:endParaRPr lang="de-DE" sz="1600" dirty="0"/>
          </a:p>
          <a:p>
            <a:pPr lvl="4"/>
            <a:endParaRPr lang="de-DE" sz="160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384000" y="5004000"/>
            <a:ext cx="4704000" cy="111600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2"/>
            <a:r>
              <a:rPr lang="de-DE" sz="1600" dirty="0"/>
              <a:t>Click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ext</a:t>
            </a:r>
            <a:endParaRPr lang="de-DE" sz="1600" dirty="0"/>
          </a:p>
          <a:p>
            <a:pPr lvl="3"/>
            <a:r>
              <a:rPr lang="de-DE" sz="1600" dirty="0"/>
              <a:t>Click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dd</a:t>
            </a:r>
            <a:r>
              <a:rPr lang="de-DE" sz="1600" dirty="0"/>
              <a:t> </a:t>
            </a:r>
            <a:r>
              <a:rPr lang="de-DE" sz="1600" dirty="0" err="1"/>
              <a:t>text</a:t>
            </a:r>
            <a:endParaRPr lang="de-DE" sz="1600" dirty="0"/>
          </a:p>
          <a:p>
            <a:pPr lvl="4"/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753585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0"/>
            <a:ext cx="9984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1368000"/>
            <a:ext cx="9984317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ection</a:t>
            </a:r>
            <a:r>
              <a:rPr lang="de-DE" dirty="0"/>
              <a:t> </a:t>
            </a:r>
            <a:r>
              <a:rPr lang="de-DE" dirty="0" err="1"/>
              <a:t>number</a:t>
            </a:r>
            <a:endParaRPr lang="de-DE" dirty="0"/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6087" y="6425946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771807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311574" y="233680"/>
            <a:ext cx="11579791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0"/>
            <a:ext cx="9984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1368000"/>
            <a:ext cx="9984317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ection</a:t>
            </a:r>
            <a:r>
              <a:rPr lang="de-DE" dirty="0"/>
              <a:t> </a:t>
            </a:r>
            <a:r>
              <a:rPr lang="de-DE" dirty="0" err="1"/>
              <a:t>number</a:t>
            </a:r>
            <a:endParaRPr lang="de-DE" dirty="0"/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6087" y="6425946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240301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104000" y="2052000"/>
            <a:ext cx="7296000" cy="34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7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32397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7283" y="2628012"/>
            <a:ext cx="1657435" cy="1601991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716000"/>
            <a:ext cx="12192000" cy="6660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10454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7805383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9021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6" y="6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104001" y="2052000"/>
            <a:ext cx="7296000" cy="324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6119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1190626" y="1151931"/>
            <a:ext cx="9810751" cy="2321719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Текст заголовка</a:t>
            </a:r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1190626" y="3536156"/>
            <a:ext cx="9810751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8" algn="ctr">
              <a:spcBef>
                <a:spcPts val="0"/>
              </a:spcBef>
              <a:buSzTx/>
              <a:buNone/>
              <a:defRPr sz="2250"/>
            </a:lvl3pPr>
            <a:lvl4pPr marL="0" indent="482187" algn="ctr">
              <a:spcBef>
                <a:spcPts val="0"/>
              </a:spcBef>
              <a:buSzTx/>
              <a:buNone/>
              <a:defRPr sz="2250"/>
            </a:lvl4pPr>
            <a:lvl5pPr marL="0" indent="642916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Уровень текста 1</a:t>
            </a:r>
          </a:p>
          <a:p>
            <a:pPr lvl="1">
              <a:defRPr sz="1800"/>
            </a:pPr>
            <a:r>
              <a:rPr sz="2250"/>
              <a:t>Уровень текста 2</a:t>
            </a:r>
          </a:p>
          <a:p>
            <a:pPr lvl="2">
              <a:defRPr sz="1800"/>
            </a:pPr>
            <a:r>
              <a:rPr sz="2250"/>
              <a:t>Уровень текста 3</a:t>
            </a:r>
          </a:p>
          <a:p>
            <a:pPr lvl="3">
              <a:defRPr sz="1800"/>
            </a:pPr>
            <a:r>
              <a:rPr sz="2250"/>
              <a:t>Уровень текста 4</a:t>
            </a:r>
          </a:p>
          <a:p>
            <a:pPr lvl="4">
              <a:defRPr sz="1800"/>
            </a:pPr>
            <a:r>
              <a:rPr sz="2250"/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82911866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>
            <a:spLocks noGrp="1"/>
          </p:cNvSpPr>
          <p:nvPr>
            <p:ph type="title"/>
          </p:nvPr>
        </p:nvSpPr>
        <p:spPr>
          <a:xfrm>
            <a:off x="1190626" y="4723806"/>
            <a:ext cx="9810751" cy="1000125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Текст заголовка</a:t>
            </a:r>
          </a:p>
        </p:txBody>
      </p:sp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xfrm>
            <a:off x="1190626" y="5759649"/>
            <a:ext cx="9810751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8" algn="ctr">
              <a:spcBef>
                <a:spcPts val="0"/>
              </a:spcBef>
              <a:buSzTx/>
              <a:buNone/>
              <a:defRPr sz="2250"/>
            </a:lvl3pPr>
            <a:lvl4pPr marL="0" indent="482187" algn="ctr">
              <a:spcBef>
                <a:spcPts val="0"/>
              </a:spcBef>
              <a:buSzTx/>
              <a:buNone/>
              <a:defRPr sz="2250"/>
            </a:lvl4pPr>
            <a:lvl5pPr marL="0" indent="642916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Уровень текста 1</a:t>
            </a:r>
          </a:p>
          <a:p>
            <a:pPr lvl="1">
              <a:defRPr sz="1800"/>
            </a:pPr>
            <a:r>
              <a:rPr sz="2250"/>
              <a:t>Уровень текста 2</a:t>
            </a:r>
          </a:p>
          <a:p>
            <a:pPr lvl="2">
              <a:defRPr sz="1800"/>
            </a:pPr>
            <a:r>
              <a:rPr sz="2250"/>
              <a:t>Уровень текста 3</a:t>
            </a:r>
          </a:p>
          <a:p>
            <a:pPr lvl="3">
              <a:defRPr sz="1800"/>
            </a:pPr>
            <a:r>
              <a:rPr sz="2250"/>
              <a:t>Уровень текста 4</a:t>
            </a:r>
          </a:p>
          <a:p>
            <a:pPr lvl="4">
              <a:defRPr sz="1800"/>
            </a:pPr>
            <a:r>
              <a:rPr sz="2250"/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1434492873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190626" y="2268142"/>
            <a:ext cx="9810751" cy="2321719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6676878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title"/>
          </p:nvPr>
        </p:nvSpPr>
        <p:spPr>
          <a:xfrm>
            <a:off x="892970" y="446484"/>
            <a:ext cx="5000625" cy="2803922"/>
          </a:xfrm>
          <a:prstGeom prst="rect">
            <a:avLst/>
          </a:prstGeom>
        </p:spPr>
        <p:txBody>
          <a:bodyPr anchor="b"/>
          <a:lstStyle>
            <a:lvl1pPr>
              <a:defRPr sz="4218"/>
            </a:lvl1pPr>
          </a:lstStyle>
          <a:p>
            <a:pPr lvl="0">
              <a:defRPr sz="1800"/>
            </a:pPr>
            <a:r>
              <a:rPr sz="4218"/>
              <a:t>Текст заголовка</a:t>
            </a:r>
          </a:p>
        </p:txBody>
      </p:sp>
      <p:sp>
        <p:nvSpPr>
          <p:cNvPr id="14" name="Shape 14"/>
          <p:cNvSpPr>
            <a:spLocks noGrp="1"/>
          </p:cNvSpPr>
          <p:nvPr>
            <p:ph type="body" idx="1"/>
          </p:nvPr>
        </p:nvSpPr>
        <p:spPr>
          <a:xfrm>
            <a:off x="892970" y="3348634"/>
            <a:ext cx="5000625" cy="288428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8" algn="ctr">
              <a:spcBef>
                <a:spcPts val="0"/>
              </a:spcBef>
              <a:buSzTx/>
              <a:buNone/>
              <a:defRPr sz="2250"/>
            </a:lvl3pPr>
            <a:lvl4pPr marL="0" indent="482187" algn="ctr">
              <a:spcBef>
                <a:spcPts val="0"/>
              </a:spcBef>
              <a:buSzTx/>
              <a:buNone/>
              <a:defRPr sz="2250"/>
            </a:lvl4pPr>
            <a:lvl5pPr marL="0" indent="642916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Уровень текста 1</a:t>
            </a:r>
          </a:p>
          <a:p>
            <a:pPr lvl="1">
              <a:defRPr sz="1800"/>
            </a:pPr>
            <a:r>
              <a:rPr sz="2250"/>
              <a:t>Уровень текста 2</a:t>
            </a:r>
          </a:p>
          <a:p>
            <a:pPr lvl="2">
              <a:defRPr sz="1800"/>
            </a:pPr>
            <a:r>
              <a:rPr sz="2250"/>
              <a:t>Уровень текста 3</a:t>
            </a:r>
          </a:p>
          <a:p>
            <a:pPr lvl="3">
              <a:defRPr sz="1800"/>
            </a:pPr>
            <a:r>
              <a:rPr sz="2250"/>
              <a:t>Уровень текста 4</a:t>
            </a:r>
          </a:p>
          <a:p>
            <a:pPr lvl="4">
              <a:defRPr sz="1800"/>
            </a:pPr>
            <a:r>
              <a:rPr sz="2250"/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3790402749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Текст заголовка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531"/>
              <a:t>Уровень текста 1</a:t>
            </a:r>
          </a:p>
          <a:p>
            <a:pPr lvl="1">
              <a:defRPr sz="1800"/>
            </a:pPr>
            <a:r>
              <a:rPr sz="2531"/>
              <a:t>Уровень текста 2</a:t>
            </a:r>
          </a:p>
          <a:p>
            <a:pPr lvl="2">
              <a:defRPr sz="1800"/>
            </a:pPr>
            <a:r>
              <a:rPr sz="2531"/>
              <a:t>Уровень текста 3</a:t>
            </a:r>
          </a:p>
          <a:p>
            <a:pPr lvl="3">
              <a:defRPr sz="1800"/>
            </a:pPr>
            <a:r>
              <a:rPr sz="2531"/>
              <a:t>Уровень текста 4</a:t>
            </a:r>
          </a:p>
          <a:p>
            <a:pPr lvl="4">
              <a:defRPr sz="1800"/>
            </a:pPr>
            <a:r>
              <a:rPr sz="2531"/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1495778872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Текст заголовка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idx="1"/>
          </p:nvPr>
        </p:nvSpPr>
        <p:spPr>
          <a:xfrm>
            <a:off x="892970" y="1830587"/>
            <a:ext cx="5000625" cy="4420195"/>
          </a:xfrm>
          <a:prstGeom prst="rect">
            <a:avLst/>
          </a:prstGeom>
        </p:spPr>
        <p:txBody>
          <a:bodyPr/>
          <a:lstStyle>
            <a:lvl1pPr marL="241094" indent="-241094">
              <a:spcBef>
                <a:spcPts val="2250"/>
              </a:spcBef>
              <a:defRPr sz="1969"/>
            </a:lvl1pPr>
            <a:lvl2pPr marL="482187" indent="-241094">
              <a:spcBef>
                <a:spcPts val="2250"/>
              </a:spcBef>
              <a:defRPr sz="1969"/>
            </a:lvl2pPr>
            <a:lvl3pPr marL="723281" indent="-241094">
              <a:spcBef>
                <a:spcPts val="2250"/>
              </a:spcBef>
              <a:defRPr sz="1969"/>
            </a:lvl3pPr>
            <a:lvl4pPr marL="964374" indent="-241094">
              <a:spcBef>
                <a:spcPts val="2250"/>
              </a:spcBef>
              <a:defRPr sz="1969"/>
            </a:lvl4pPr>
            <a:lvl5pPr marL="1205468" indent="-241094">
              <a:spcBef>
                <a:spcPts val="2250"/>
              </a:spcBef>
              <a:defRPr sz="1969"/>
            </a:lvl5pPr>
          </a:lstStyle>
          <a:p>
            <a:pPr lvl="0">
              <a:defRPr sz="1800"/>
            </a:pPr>
            <a:r>
              <a:rPr sz="1969"/>
              <a:t>Уровень текста 1</a:t>
            </a:r>
          </a:p>
          <a:p>
            <a:pPr lvl="1">
              <a:defRPr sz="1800"/>
            </a:pPr>
            <a:r>
              <a:rPr sz="1969"/>
              <a:t>Уровень текста 2</a:t>
            </a:r>
          </a:p>
          <a:p>
            <a:pPr lvl="2">
              <a:defRPr sz="1800"/>
            </a:pPr>
            <a:r>
              <a:rPr sz="1969"/>
              <a:t>Уровень текста 3</a:t>
            </a:r>
          </a:p>
          <a:p>
            <a:pPr lvl="3">
              <a:defRPr sz="1800"/>
            </a:pPr>
            <a:r>
              <a:rPr sz="1969"/>
              <a:t>Уровень текста 4</a:t>
            </a:r>
          </a:p>
          <a:p>
            <a:pPr lvl="4">
              <a:defRPr sz="1800"/>
            </a:pPr>
            <a:r>
              <a:rPr sz="1969"/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2386810403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892970" y="892970"/>
            <a:ext cx="10406063" cy="5072063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531"/>
              <a:t>Уровень текста 1</a:t>
            </a:r>
          </a:p>
          <a:p>
            <a:pPr lvl="1">
              <a:defRPr sz="1800"/>
            </a:pPr>
            <a:r>
              <a:rPr sz="2531"/>
              <a:t>Уровень текста 2</a:t>
            </a:r>
          </a:p>
          <a:p>
            <a:pPr lvl="2">
              <a:defRPr sz="1800"/>
            </a:pPr>
            <a:r>
              <a:rPr sz="2531"/>
              <a:t>Уровень текста 3</a:t>
            </a:r>
          </a:p>
          <a:p>
            <a:pPr lvl="3">
              <a:defRPr sz="1800"/>
            </a:pPr>
            <a:r>
              <a:rPr sz="2531"/>
              <a:t>Уровень текста 4</a:t>
            </a:r>
          </a:p>
          <a:p>
            <a:pPr lvl="4">
              <a:defRPr sz="1800"/>
            </a:pPr>
            <a:r>
              <a:rPr sz="2531"/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2653948952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9469504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Кавыч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561245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000" y="2628000"/>
            <a:ext cx="1680229" cy="160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276666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7706640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5880622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B49AC54-3208-4550-8B99-A9DA9B278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6591F-F2BB-4160-AB93-6C02059EA44E}" type="datetimeFigureOut">
              <a:rPr lang="ru-RU" smtClean="0"/>
              <a:t>17.04.2018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5557BD2-4A4F-4F03-A918-363F12D0E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5111CE5-F0C0-4BF5-89F9-F9B94BE27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ACFDCC-F7B4-41AC-A719-304B69F567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7089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311574" y="233680"/>
            <a:ext cx="11579791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0127" y="6329934"/>
            <a:ext cx="2135971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43339" y="6237312"/>
            <a:ext cx="768085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4000" y="460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4000" y="487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Sector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/>
              <a:t>_Date</a:t>
            </a:r>
          </a:p>
          <a:p>
            <a:pPr lvl="0"/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0"/>
            <a:ext cx="9984000" cy="7674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Main Title in Title Cas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104899" y="2819400"/>
            <a:ext cx="9984000" cy="609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3600" i="1" baseline="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Sub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5444311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3" y="1600201"/>
            <a:ext cx="111379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39349" y="152636"/>
            <a:ext cx="11617291" cy="776288"/>
          </a:xfrm>
        </p:spPr>
        <p:txBody>
          <a:bodyPr/>
          <a:lstStyle>
            <a:lvl1pPr>
              <a:defRPr sz="2400"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86358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Main title in 28pt – subtitle in 20pt italic bl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2834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04899" y="2052000"/>
            <a:ext cx="9984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04900" y="1368000"/>
            <a:ext cx="9984317" cy="404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6233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7805383" y="6324600"/>
            <a:ext cx="4368800" cy="533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0472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6000" y="2628000"/>
            <a:ext cx="1680229" cy="1602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09972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13CF37-3704-4CBB-B3F4-AC8A933F2950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710550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25157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737600" y="624840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0CD8598-6FD0-466E-B5BD-F3891D3E140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165600" y="6248400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668149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5BCCA-AD11-4F65-85D7-AECF216F243C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8734644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27AF38-139D-4C8D-ACFB-C8D18867B730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13855049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D8D40B-D4B5-4A1B-9AFE-7F3DBC1DD2A7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1267584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781A50-762E-4F6B-A57B-220A60D5A848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6021395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57A6BB-47D6-46B1-B951-45753E33DCFF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9612222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30327-ED00-4AAC-A7FF-8BA6EA075165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8440182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EDF406-5BD7-4139-807C-EEAFD3B8D293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26746479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B6A97-DECD-4693-9837-68F0B3BC7D1E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92425302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19F5C-1189-4D30-AAAF-A365A19FDBBD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05602920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3028DE-B20B-40E5-AB53-3FB9BBB939D6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49481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25157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7600" y="624840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53785DC-9796-4501-A105-60C6BF237EA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4165600" y="6248400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8135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bleed 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104000" y="2052000"/>
            <a:ext cx="7296000" cy="34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7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to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1538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3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7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25.xml"/><Relationship Id="rId5" Type="http://schemas.openxmlformats.org/officeDocument/2006/relationships/slideLayout" Target="../slideLayouts/slideLayout33.xml"/><Relationship Id="rId10" Type="http://schemas.openxmlformats.org/officeDocument/2006/relationships/tags" Target="../tags/tag24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2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slideLayout" Target="../slideLayouts/slideLayout37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ags" Target="../tags/tag45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ags" Target="../tags/tag44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65.xml"/><Relationship Id="rId7" Type="http://schemas.openxmlformats.org/officeDocument/2006/relationships/theme" Target="../theme/theme8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67.xml"/><Relationship Id="rId10" Type="http://schemas.openxmlformats.org/officeDocument/2006/relationships/tags" Target="../tags/tag64.xml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6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27051" y="1600201"/>
            <a:ext cx="11137900" cy="452596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527051" y="565150"/>
            <a:ext cx="11137900" cy="776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313267" y="6472500"/>
            <a:ext cx="677333" cy="18415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>
              <a:defRPr lang="en-US" sz="1200" smtClean="0"/>
            </a:lvl1pPr>
          </a:lstStyle>
          <a:p>
            <a:pPr lvl="0"/>
            <a:fld id="{C3A9D72B-53BE-4D95-9D29-99D7313A36B1}" type="slidenum">
              <a:rPr lang="en-US" sz="1200" noProof="0" smtClean="0"/>
              <a:pPr lvl="0"/>
              <a:t>‹#›</a:t>
            </a:fld>
            <a:endParaRPr lang="en-US" sz="1200" noProof="0"/>
          </a:p>
        </p:txBody>
      </p:sp>
      <p:sp>
        <p:nvSpPr>
          <p:cNvPr id="12" name="TextBox 11"/>
          <p:cNvSpPr txBox="1"/>
          <p:nvPr/>
        </p:nvSpPr>
        <p:spPr>
          <a:xfrm>
            <a:off x="1104003" y="6508750"/>
            <a:ext cx="6048637" cy="1397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900" kern="1200" noProof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Confidential</a:t>
            </a:r>
          </a:p>
        </p:txBody>
      </p:sp>
      <p:pic>
        <p:nvPicPr>
          <p:cNvPr id="8" name="Picture 7"/>
          <p:cNvPicPr>
            <a:picLocks/>
          </p:cNvPicPr>
          <p:nvPr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968" y="6472195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464849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70" r:id="rId7"/>
    <p:sldLayoutId id="2147483671" r:id="rId8"/>
    <p:sldLayoutId id="2147483672" r:id="rId9"/>
    <p:sldLayoutId id="2147483673" r:id="rId10"/>
    <p:sldLayoutId id="2147483677" r:id="rId11"/>
    <p:sldLayoutId id="2147483679" r:id="rId12"/>
    <p:sldLayoutId id="2147483680" r:id="rId13"/>
    <p:sldLayoutId id="2147483681" r:id="rId14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800" kern="1200" smtClean="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34950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5513" indent="-2349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413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9913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─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27051" y="1600201"/>
            <a:ext cx="11137900" cy="452596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527051" y="565150"/>
            <a:ext cx="11137900" cy="776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313267" y="6472500"/>
            <a:ext cx="677333" cy="18415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>
              <a:defRPr lang="en-US" sz="1200" smtClean="0"/>
            </a:lvl1pPr>
          </a:lstStyle>
          <a:p>
            <a:fld id="{C3A9D72B-53BE-4D95-9D29-99D7313A36B1}" type="slidenum">
              <a:rPr sz="1200">
                <a:solidFill>
                  <a:srgbClr val="000000"/>
                </a:solidFill>
              </a:rPr>
              <a:pPr/>
              <a:t>‹#›</a:t>
            </a:fld>
            <a:endParaRPr sz="120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04003" y="6508750"/>
            <a:ext cx="6048637" cy="1397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900">
                <a:solidFill>
                  <a:srgbClr val="000000"/>
                </a:solidFill>
              </a:rPr>
              <a:t>Confidential</a:t>
            </a:r>
          </a:p>
        </p:txBody>
      </p:sp>
      <p:pic>
        <p:nvPicPr>
          <p:cNvPr id="8" name="Picture 7"/>
          <p:cNvPicPr>
            <a:picLocks/>
          </p:cNvPicPr>
          <p:nvPr>
            <p:custDataLst>
              <p:tags r:id="rId10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968" y="6472195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61324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800" kern="1200" smtClean="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34950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5513" indent="-2349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413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9913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─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27051" y="1600201"/>
            <a:ext cx="11137900" cy="452596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527051" y="565150"/>
            <a:ext cx="11137900" cy="776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313267" y="6472500"/>
            <a:ext cx="677333" cy="18415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>
              <a:defRPr lang="en-US" sz="1200" smtClean="0"/>
            </a:lvl1pPr>
          </a:lstStyle>
          <a:p>
            <a:fld id="{C3A9D72B-53BE-4D95-9D29-99D7313A36B1}" type="slidenum">
              <a:rPr sz="1200">
                <a:solidFill>
                  <a:srgbClr val="000000"/>
                </a:solidFill>
              </a:rPr>
              <a:pPr/>
              <a:t>‹#›</a:t>
            </a:fld>
            <a:endParaRPr sz="120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04003" y="6508750"/>
            <a:ext cx="6048637" cy="1397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900">
                <a:solidFill>
                  <a:srgbClr val="000000"/>
                </a:solidFill>
              </a:rPr>
              <a:t>Confidential</a:t>
            </a:r>
          </a:p>
        </p:txBody>
      </p:sp>
      <p:pic>
        <p:nvPicPr>
          <p:cNvPr id="8" name="Picture 7"/>
          <p:cNvPicPr>
            <a:picLocks/>
          </p:cNvPicPr>
          <p:nvPr>
            <p:custDataLst>
              <p:tags r:id="rId10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968" y="6472195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322953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800" kern="1200" smtClean="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34950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5513" indent="-2349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413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9913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─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104900" y="828675"/>
            <a:ext cx="998220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alt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720006" y="1548002"/>
            <a:ext cx="10752007" cy="4608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ußzeilenplatzhalter 1" hidden="1"/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1100667" y="6502400"/>
            <a:ext cx="1016000" cy="1397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b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Calibri"/>
              </a:defRPr>
            </a:lvl1pPr>
          </a:lstStyle>
          <a:p>
            <a:endParaRPr lang="ru-RU"/>
          </a:p>
        </p:txBody>
      </p:sp>
      <p:sp>
        <p:nvSpPr>
          <p:cNvPr id="4" name="Foliennummernplatzhalter 3" hidden="1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279400" y="6464300"/>
            <a:ext cx="677333" cy="18415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Calibri"/>
              </a:defRPr>
            </a:lvl1pPr>
          </a:lstStyle>
          <a:p>
            <a:fld id="{372BD1F7-EAE3-47C9-988F-19330199DE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0189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buFontTx/>
        <a:buNone/>
        <a:defRPr sz="2550" kern="12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50">
          <a:solidFill>
            <a:srgbClr val="000000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50">
          <a:solidFill>
            <a:srgbClr val="000000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50">
          <a:solidFill>
            <a:srgbClr val="000000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50">
          <a:solidFill>
            <a:srgbClr val="000000"/>
          </a:solidFill>
          <a:latin typeface="Calibri" pitchFamily="34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15989" indent="-215989" algn="l" rtl="0" eaLnBrk="1" fontAlgn="base" hangingPunct="1">
        <a:spcBef>
          <a:spcPts val="0"/>
        </a:spcBef>
        <a:spcAft>
          <a:spcPts val="0"/>
        </a:spcAft>
        <a:buClrTx/>
        <a:buSzPct val="100000"/>
        <a:buFont typeface="Calibri" pitchFamily="34" charset="0"/>
        <a:buChar char="•"/>
        <a:defRPr sz="1800" b="0" i="0" u="none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1978" indent="-215989" algn="l" rtl="0" eaLnBrk="1" fontAlgn="base" hangingPunct="1">
        <a:spcBef>
          <a:spcPts val="0"/>
        </a:spcBef>
        <a:spcAft>
          <a:spcPts val="0"/>
        </a:spcAft>
        <a:buClrTx/>
        <a:buSzPct val="100000"/>
        <a:buFont typeface="Calibri" pitchFamily="34" charset="0"/>
        <a:buChar char="–"/>
        <a:defRPr sz="1800" b="0" i="0" u="none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647967" indent="-215989" algn="l" rtl="0" eaLnBrk="1" fontAlgn="base" hangingPunct="1">
        <a:spcBef>
          <a:spcPts val="0"/>
        </a:spcBef>
        <a:spcAft>
          <a:spcPts val="0"/>
        </a:spcAft>
        <a:buClrTx/>
        <a:buSzPct val="100000"/>
        <a:buFont typeface="Wingdings" panose="05000000000000000000" pitchFamily="2" charset="2"/>
        <a:buChar char="§"/>
        <a:defRPr sz="1800" b="0" i="0" u="none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863956" indent="-215989" algn="l" rtl="0" eaLnBrk="1" fontAlgn="base" hangingPunct="1">
        <a:spcBef>
          <a:spcPts val="0"/>
        </a:spcBef>
        <a:spcAft>
          <a:spcPts val="0"/>
        </a:spcAft>
        <a:buClrTx/>
        <a:buSzPct val="100000"/>
        <a:buFont typeface="Calibri" pitchFamily="34" charset="0"/>
        <a:buChar char="•"/>
        <a:defRPr sz="1800" b="0" i="0" u="none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079945" indent="-215989" algn="l" rtl="0" eaLnBrk="1" fontAlgn="base" hangingPunct="1">
        <a:spcBef>
          <a:spcPts val="0"/>
        </a:spcBef>
        <a:spcAft>
          <a:spcPts val="0"/>
        </a:spcAft>
        <a:buClrTx/>
        <a:buSzPct val="100000"/>
        <a:buFont typeface="Calibri" pitchFamily="34" charset="0"/>
        <a:buChar char="–"/>
        <a:defRPr sz="1800" b="0" i="0" u="none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27051" y="1600201"/>
            <a:ext cx="11137900" cy="452596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527051" y="565150"/>
            <a:ext cx="11137900" cy="776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313267" y="6472500"/>
            <a:ext cx="677333" cy="18415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>
              <a:defRPr lang="en-US" sz="1200" smtClean="0"/>
            </a:lvl1pPr>
          </a:lstStyle>
          <a:p>
            <a:pPr lvl="0"/>
            <a:fld id="{C3A9D72B-53BE-4D95-9D29-99D7313A36B1}" type="slidenum">
              <a:rPr lang="en-US" sz="1200" noProof="0" smtClean="0"/>
              <a:pPr lvl="0"/>
              <a:t>‹#›</a:t>
            </a:fld>
            <a:endParaRPr lang="en-US" sz="1200" noProof="0"/>
          </a:p>
        </p:txBody>
      </p:sp>
      <p:sp>
        <p:nvSpPr>
          <p:cNvPr id="12" name="TextBox 11"/>
          <p:cNvSpPr txBox="1"/>
          <p:nvPr/>
        </p:nvSpPr>
        <p:spPr>
          <a:xfrm>
            <a:off x="1104003" y="6508750"/>
            <a:ext cx="6048637" cy="1397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900" kern="1200" noProof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Confidential</a:t>
            </a: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8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968" y="6472195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672281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800" kern="1200" smtClean="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34950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5513" indent="-2349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413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9913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─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1104003" y="6502400"/>
            <a:ext cx="6048637" cy="139700"/>
          </a:xfrm>
          <a:prstGeom prst="rect">
            <a:avLst/>
          </a:prstGeom>
          <a:noFill/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" name="TextBox 6"/>
          <p:cNvSpPr txBox="1">
            <a:spLocks/>
          </p:cNvSpPr>
          <p:nvPr userDrawn="1">
            <p:custDataLst>
              <p:tags r:id="rId13"/>
            </p:custDataLst>
          </p:nvPr>
        </p:nvSpPr>
        <p:spPr>
          <a:xfrm>
            <a:off x="313267" y="6464300"/>
            <a:ext cx="677333" cy="184150"/>
          </a:xfrm>
          <a:prstGeom prst="rect">
            <a:avLst/>
          </a:prstGeom>
          <a:noFill/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>
            <a:noAutofit/>
          </a:bodyPr>
          <a:lstStyle/>
          <a:p>
            <a:fld id="{AFB868B0-0EA7-468E-A823-2874C090DC2E}" type="slidenum">
              <a:rPr lang="de-DE" sz="1200" smtClean="0">
                <a:solidFill>
                  <a:srgbClr val="000000"/>
                </a:solidFill>
              </a:rPr>
              <a:pPr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89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9" r:id="rId1"/>
    <p:sldLayoutId id="2147484240" r:id="rId2"/>
    <p:sldLayoutId id="2147484241" r:id="rId3"/>
    <p:sldLayoutId id="2147484242" r:id="rId4"/>
    <p:sldLayoutId id="2147484243" r:id="rId5"/>
    <p:sldLayoutId id="2147484244" r:id="rId6"/>
    <p:sldLayoutId id="2147484245" r:id="rId7"/>
    <p:sldLayoutId id="2147484246" r:id="rId8"/>
    <p:sldLayoutId id="2147484247" r:id="rId9"/>
    <p:sldLayoutId id="2147484248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70" y="312540"/>
            <a:ext cx="10406063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5625"/>
              <a:t>Текст заголовка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70" y="1830587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2531"/>
              <a:t>Уровень текста 1</a:t>
            </a:r>
          </a:p>
          <a:p>
            <a:pPr lvl="1">
              <a:defRPr sz="1800"/>
            </a:pPr>
            <a:r>
              <a:rPr sz="2531"/>
              <a:t>Уровень текста 2</a:t>
            </a:r>
          </a:p>
          <a:p>
            <a:pPr lvl="2">
              <a:defRPr sz="1800"/>
            </a:pPr>
            <a:r>
              <a:rPr sz="2531"/>
              <a:t>Уровень текста 3</a:t>
            </a:r>
          </a:p>
          <a:p>
            <a:pPr lvl="3">
              <a:defRPr sz="1800"/>
            </a:pPr>
            <a:r>
              <a:rPr sz="2531"/>
              <a:t>Уровень текста 4</a:t>
            </a:r>
          </a:p>
          <a:p>
            <a:pPr lvl="4">
              <a:defRPr sz="1800"/>
            </a:pPr>
            <a:r>
              <a:rPr sz="2531"/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653348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95" r:id="rId12"/>
  </p:sldLayoutIdLst>
  <p:transition spd="med"/>
  <p:txStyles>
    <p:titleStyle>
      <a:lvl1pPr algn="ctr" defTabSz="410752">
        <a:defRPr sz="5625">
          <a:latin typeface="+mn-lt"/>
          <a:ea typeface="+mn-ea"/>
          <a:cs typeface="+mn-cs"/>
          <a:sym typeface="Helvetica Light"/>
        </a:defRPr>
      </a:lvl1pPr>
      <a:lvl2pPr indent="160729" algn="ctr" defTabSz="410752">
        <a:defRPr sz="5625">
          <a:latin typeface="+mn-lt"/>
          <a:ea typeface="+mn-ea"/>
          <a:cs typeface="+mn-cs"/>
          <a:sym typeface="Helvetica Light"/>
        </a:defRPr>
      </a:lvl2pPr>
      <a:lvl3pPr indent="321458" algn="ctr" defTabSz="410752">
        <a:defRPr sz="5625">
          <a:latin typeface="+mn-lt"/>
          <a:ea typeface="+mn-ea"/>
          <a:cs typeface="+mn-cs"/>
          <a:sym typeface="Helvetica Light"/>
        </a:defRPr>
      </a:lvl3pPr>
      <a:lvl4pPr indent="482187" algn="ctr" defTabSz="410752">
        <a:defRPr sz="5625">
          <a:latin typeface="+mn-lt"/>
          <a:ea typeface="+mn-ea"/>
          <a:cs typeface="+mn-cs"/>
          <a:sym typeface="Helvetica Light"/>
        </a:defRPr>
      </a:lvl4pPr>
      <a:lvl5pPr indent="642916" algn="ctr" defTabSz="410752">
        <a:defRPr sz="5625">
          <a:latin typeface="+mn-lt"/>
          <a:ea typeface="+mn-ea"/>
          <a:cs typeface="+mn-cs"/>
          <a:sym typeface="Helvetica Light"/>
        </a:defRPr>
      </a:lvl5pPr>
      <a:lvl6pPr indent="803645" algn="ctr" defTabSz="410752">
        <a:defRPr sz="5625">
          <a:latin typeface="+mn-lt"/>
          <a:ea typeface="+mn-ea"/>
          <a:cs typeface="+mn-cs"/>
          <a:sym typeface="Helvetica Light"/>
        </a:defRPr>
      </a:lvl6pPr>
      <a:lvl7pPr indent="964374" algn="ctr" defTabSz="410752">
        <a:defRPr sz="5625">
          <a:latin typeface="+mn-lt"/>
          <a:ea typeface="+mn-ea"/>
          <a:cs typeface="+mn-cs"/>
          <a:sym typeface="Helvetica Light"/>
        </a:defRPr>
      </a:lvl7pPr>
      <a:lvl8pPr indent="1125104" algn="ctr" defTabSz="410752">
        <a:defRPr sz="5625">
          <a:latin typeface="+mn-lt"/>
          <a:ea typeface="+mn-ea"/>
          <a:cs typeface="+mn-cs"/>
          <a:sym typeface="Helvetica Light"/>
        </a:defRPr>
      </a:lvl8pPr>
      <a:lvl9pPr indent="1285833" algn="ctr" defTabSz="410752">
        <a:defRPr sz="5625">
          <a:latin typeface="+mn-lt"/>
          <a:ea typeface="+mn-ea"/>
          <a:cs typeface="+mn-cs"/>
          <a:sym typeface="Helvetica Light"/>
        </a:defRPr>
      </a:lvl9pPr>
    </p:titleStyle>
    <p:bodyStyle>
      <a:lvl1pPr marL="312529" indent="-312529" defTabSz="410752">
        <a:spcBef>
          <a:spcPts val="2953"/>
        </a:spcBef>
        <a:buSzPct val="75000"/>
        <a:buChar char="•"/>
        <a:defRPr sz="2531">
          <a:latin typeface="+mn-lt"/>
          <a:ea typeface="+mn-ea"/>
          <a:cs typeface="+mn-cs"/>
          <a:sym typeface="Helvetica Light"/>
        </a:defRPr>
      </a:lvl1pPr>
      <a:lvl2pPr marL="625058" indent="-312529" defTabSz="410752">
        <a:spcBef>
          <a:spcPts val="2953"/>
        </a:spcBef>
        <a:buSzPct val="75000"/>
        <a:buChar char="•"/>
        <a:defRPr sz="2531">
          <a:latin typeface="+mn-lt"/>
          <a:ea typeface="+mn-ea"/>
          <a:cs typeface="+mn-cs"/>
          <a:sym typeface="Helvetica Light"/>
        </a:defRPr>
      </a:lvl2pPr>
      <a:lvl3pPr marL="937586" indent="-312529" defTabSz="410752">
        <a:spcBef>
          <a:spcPts val="2953"/>
        </a:spcBef>
        <a:buSzPct val="75000"/>
        <a:buChar char="•"/>
        <a:defRPr sz="2531">
          <a:latin typeface="+mn-lt"/>
          <a:ea typeface="+mn-ea"/>
          <a:cs typeface="+mn-cs"/>
          <a:sym typeface="Helvetica Light"/>
        </a:defRPr>
      </a:lvl3pPr>
      <a:lvl4pPr marL="1250115" indent="-312529" defTabSz="410752">
        <a:spcBef>
          <a:spcPts val="2953"/>
        </a:spcBef>
        <a:buSzPct val="75000"/>
        <a:buChar char="•"/>
        <a:defRPr sz="2531">
          <a:latin typeface="+mn-lt"/>
          <a:ea typeface="+mn-ea"/>
          <a:cs typeface="+mn-cs"/>
          <a:sym typeface="Helvetica Light"/>
        </a:defRPr>
      </a:lvl4pPr>
      <a:lvl5pPr marL="1562644" indent="-312529" defTabSz="410752">
        <a:spcBef>
          <a:spcPts val="2953"/>
        </a:spcBef>
        <a:buSzPct val="75000"/>
        <a:buChar char="•"/>
        <a:defRPr sz="2531">
          <a:latin typeface="+mn-lt"/>
          <a:ea typeface="+mn-ea"/>
          <a:cs typeface="+mn-cs"/>
          <a:sym typeface="Helvetica Light"/>
        </a:defRPr>
      </a:lvl5pPr>
      <a:lvl6pPr marL="1875173" indent="-312529" defTabSz="410752">
        <a:spcBef>
          <a:spcPts val="2953"/>
        </a:spcBef>
        <a:buSzPct val="75000"/>
        <a:buChar char="•"/>
        <a:defRPr sz="2531">
          <a:latin typeface="+mn-lt"/>
          <a:ea typeface="+mn-ea"/>
          <a:cs typeface="+mn-cs"/>
          <a:sym typeface="Helvetica Light"/>
        </a:defRPr>
      </a:lvl6pPr>
      <a:lvl7pPr marL="2187701" indent="-312529" defTabSz="410752">
        <a:spcBef>
          <a:spcPts val="2953"/>
        </a:spcBef>
        <a:buSzPct val="75000"/>
        <a:buChar char="•"/>
        <a:defRPr sz="2531">
          <a:latin typeface="+mn-lt"/>
          <a:ea typeface="+mn-ea"/>
          <a:cs typeface="+mn-cs"/>
          <a:sym typeface="Helvetica Light"/>
        </a:defRPr>
      </a:lvl7pPr>
      <a:lvl8pPr marL="2500230" indent="-312529" defTabSz="410752">
        <a:spcBef>
          <a:spcPts val="2953"/>
        </a:spcBef>
        <a:buSzPct val="75000"/>
        <a:buChar char="•"/>
        <a:defRPr sz="2531">
          <a:latin typeface="+mn-lt"/>
          <a:ea typeface="+mn-ea"/>
          <a:cs typeface="+mn-cs"/>
          <a:sym typeface="Helvetica Light"/>
        </a:defRPr>
      </a:lvl8pPr>
      <a:lvl9pPr marL="2812759" indent="-312529" defTabSz="410752">
        <a:spcBef>
          <a:spcPts val="2953"/>
        </a:spcBef>
        <a:buSzPct val="75000"/>
        <a:buChar char="•"/>
        <a:defRPr sz="2531">
          <a:latin typeface="+mn-lt"/>
          <a:ea typeface="+mn-ea"/>
          <a:cs typeface="+mn-cs"/>
          <a:sym typeface="Helvetica Light"/>
        </a:defRPr>
      </a:lvl9pPr>
    </p:bodyStyle>
    <p:otherStyle>
      <a:lvl1pPr algn="ctr" defTabSz="410752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1pPr>
      <a:lvl2pPr indent="160729" algn="ctr" defTabSz="410752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2pPr>
      <a:lvl3pPr indent="321458" algn="ctr" defTabSz="410752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3pPr>
      <a:lvl4pPr indent="482187" algn="ctr" defTabSz="410752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4pPr>
      <a:lvl5pPr indent="642916" algn="ctr" defTabSz="410752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5pPr>
      <a:lvl6pPr indent="803645" algn="ctr" defTabSz="410752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6pPr>
      <a:lvl7pPr indent="964374" algn="ctr" defTabSz="410752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7pPr>
      <a:lvl8pPr indent="1125104" algn="ctr" defTabSz="410752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8pPr>
      <a:lvl9pPr indent="1285833" algn="ctr" defTabSz="410752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27051" y="1600201"/>
            <a:ext cx="11137900" cy="452596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527051" y="565150"/>
            <a:ext cx="11137900" cy="776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313267" y="6472500"/>
            <a:ext cx="677333" cy="18415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>
              <a:defRPr lang="en-US" sz="1200" smtClean="0"/>
            </a:lvl1pPr>
          </a:lstStyle>
          <a:p>
            <a:fld id="{C3A9D72B-53BE-4D95-9D29-99D7313A36B1}" type="slidenum">
              <a:rPr sz="1200">
                <a:solidFill>
                  <a:srgbClr val="000000"/>
                </a:solidFill>
              </a:rPr>
              <a:pPr/>
              <a:t>‹#›</a:t>
            </a:fld>
            <a:endParaRPr sz="120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>
            <p:custDataLst>
              <p:tags r:id="rId10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8968" y="6472195"/>
            <a:ext cx="1440011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41810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5" r:id="rId1"/>
    <p:sldLayoutId id="2147484276" r:id="rId2"/>
    <p:sldLayoutId id="2147484277" r:id="rId3"/>
    <p:sldLayoutId id="2147484278" r:id="rId4"/>
    <p:sldLayoutId id="2147484279" r:id="rId5"/>
    <p:sldLayoutId id="2147484280" r:id="rId6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2800" kern="1200" smtClean="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34950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5513" indent="-2349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413" indent="-2349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9913" indent="-234950" algn="l" defTabSz="914400" rtl="0" eaLnBrk="1" latinLnBrk="0" hangingPunct="1">
        <a:spcBef>
          <a:spcPct val="20000"/>
        </a:spcBef>
        <a:buFont typeface="Calibri" panose="020F0502020204030204" pitchFamily="34" charset="0"/>
        <a:buChar char="─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alt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alt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05B1D3-B7E0-4894-80DB-D098BCDD3602}" type="slidenum">
              <a:rPr lang="en-US" altLang="ru-RU" smtClean="0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387593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6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17.png&amp;ehk=OBahwz7qpjEBSHiaBDVMnA&amp;r=0&amp;pid=OfficeInsert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24.sv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23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2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>
            <a:extLst>
              <a:ext uri="{FF2B5EF4-FFF2-40B4-BE49-F238E27FC236}">
                <a16:creationId xmlns:a16="http://schemas.microsoft.com/office/drawing/2014/main" id="{B3A2EF05-6E1D-47C0-AF4F-A4381A2170AE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246784" y="3449290"/>
            <a:ext cx="7698432" cy="720080"/>
          </a:xfrm>
        </p:spPr>
        <p:txBody>
          <a:bodyPr>
            <a:normAutofit/>
          </a:bodyPr>
          <a:lstStyle/>
          <a:p>
            <a:r>
              <a:rPr lang="ru-RU" altLang="ru-RU" sz="2800" b="1" dirty="0">
                <a:solidFill>
                  <a:schemeClr val="tx2"/>
                </a:solidFill>
              </a:rPr>
              <a:t>Для конференции 10 апреля 2018 года</a:t>
            </a:r>
            <a:endParaRPr lang="en-US" altLang="ru-RU" sz="2800" b="1" dirty="0">
              <a:solidFill>
                <a:schemeClr val="tx2"/>
              </a:solidFill>
            </a:endParaRPr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75BDD906-24CD-4E74-970B-A1A97E35A1C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398670" y="2060849"/>
            <a:ext cx="7394660" cy="864096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ru-RU" altLang="ru-RU" b="1" i="1" dirty="0"/>
              <a:t>Насущные задачи информатизации здравоохранения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224391F-C3A7-44DB-9CFA-1BAD4D8D07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1945" y="5517233"/>
            <a:ext cx="1114713" cy="1119959"/>
          </a:xfrm>
          <a:prstGeom prst="rect">
            <a:avLst/>
          </a:prstGeom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2F591D4E-CE79-42EC-9A52-2FC57CB21F0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521129" y="4725144"/>
            <a:ext cx="7256344" cy="943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2000" dirty="0">
                <a:solidFill>
                  <a:schemeClr val="tx2"/>
                </a:solidFill>
              </a:rPr>
              <a:t>Плисс М.А., заместитель директора по экспертно-аналитической работе Высшей Школы Экономики при Правительстве РФ</a:t>
            </a:r>
          </a:p>
          <a:p>
            <a:pPr>
              <a:lnSpc>
                <a:spcPct val="90000"/>
              </a:lnSpc>
            </a:pPr>
            <a:endParaRPr lang="en-US" altLang="ru-RU" sz="2000" dirty="0">
              <a:solidFill>
                <a:schemeClr val="tx2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70B9643-BD9C-4429-ACF3-4D5370A57E5E}"/>
              </a:ext>
            </a:extLst>
          </p:cNvPr>
          <p:cNvSpPr/>
          <p:nvPr/>
        </p:nvSpPr>
        <p:spPr>
          <a:xfrm>
            <a:off x="0" y="0"/>
            <a:ext cx="12192000" cy="17008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1AB1A79-8D55-4652-87C7-601CD0E7C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9696" y="380641"/>
            <a:ext cx="5153025" cy="100012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Текущая информатизация и управление инновациям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4" name="Рисунок 3" descr="Голова с шестеренками">
            <a:extLst>
              <a:ext uri="{FF2B5EF4-FFF2-40B4-BE49-F238E27FC236}">
                <a16:creationId xmlns:a16="http://schemas.microsoft.com/office/drawing/2014/main" id="{7A7CF0CF-3DDA-42B1-8F17-1633010B48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1424" y="1683579"/>
            <a:ext cx="2189239" cy="21892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B436846-7F72-4233-A8F6-CB8CF5F1E80E}"/>
              </a:ext>
            </a:extLst>
          </p:cNvPr>
          <p:cNvSpPr txBox="1"/>
          <p:nvPr/>
        </p:nvSpPr>
        <p:spPr>
          <a:xfrm>
            <a:off x="335360" y="4456276"/>
            <a:ext cx="4320480" cy="718145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cs typeface="Arial" panose="020B0604020202020204" pitchFamily="34" charset="0"/>
                <a:sym typeface="Helvetica Light"/>
              </a:rPr>
              <a:t>Задачи в области информатизации здравоохранения</a:t>
            </a:r>
          </a:p>
        </p:txBody>
      </p:sp>
      <p:pic>
        <p:nvPicPr>
          <p:cNvPr id="8" name="Рисунок 7" descr="Стрелка: прямо">
            <a:extLst>
              <a:ext uri="{FF2B5EF4-FFF2-40B4-BE49-F238E27FC236}">
                <a16:creationId xmlns:a16="http://schemas.microsoft.com/office/drawing/2014/main" id="{21F1DC39-0783-43B8-80FF-3992F2CDFA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3575720" y="1599801"/>
            <a:ext cx="914400" cy="914400"/>
          </a:xfrm>
          <a:prstGeom prst="rect">
            <a:avLst/>
          </a:prstGeom>
        </p:spPr>
      </p:pic>
      <p:pic>
        <p:nvPicPr>
          <p:cNvPr id="11" name="Рисунок 10" descr="Стрелка: прямо">
            <a:extLst>
              <a:ext uri="{FF2B5EF4-FFF2-40B4-BE49-F238E27FC236}">
                <a16:creationId xmlns:a16="http://schemas.microsoft.com/office/drawing/2014/main" id="{FFD61AF1-2530-4BD3-8F55-5EA175CE46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3575720" y="3028038"/>
            <a:ext cx="914400" cy="91440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FBEE3A3-35C3-4562-AC02-32D4C63533F8}"/>
              </a:ext>
            </a:extLst>
          </p:cNvPr>
          <p:cNvSpPr/>
          <p:nvPr/>
        </p:nvSpPr>
        <p:spPr>
          <a:xfrm>
            <a:off x="4727848" y="1697928"/>
            <a:ext cx="6768752" cy="718145"/>
          </a:xfrm>
          <a:prstGeom prst="rect">
            <a:avLst/>
          </a:prstGeom>
          <a:solidFill>
            <a:srgbClr val="0365C0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  <a:sym typeface="Helvetica Light"/>
              </a:rPr>
              <a:t>Регулярное управление информатизацией, </a:t>
            </a:r>
          </a:p>
          <a:p>
            <a:pPr marL="0" marR="0" indent="0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  <a:sym typeface="Helvetica Light"/>
              </a:rPr>
              <a:t>доработка, поддержка, развитие ИС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33C9249-5A0E-4C62-B6FA-B4A55D0F6FA0}"/>
              </a:ext>
            </a:extLst>
          </p:cNvPr>
          <p:cNvSpPr/>
          <p:nvPr/>
        </p:nvSpPr>
        <p:spPr>
          <a:xfrm>
            <a:off x="4727848" y="3070895"/>
            <a:ext cx="6768752" cy="718145"/>
          </a:xfrm>
          <a:prstGeom prst="rect">
            <a:avLst/>
          </a:prstGeom>
          <a:solidFill>
            <a:srgbClr val="0365C0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  <a:sym typeface="Helvetica Light"/>
              </a:rPr>
              <a:t>Развитие и внедрение инноваций, новые технологии, </a:t>
            </a:r>
          </a:p>
          <a:p>
            <a:pPr marL="0" marR="0" indent="0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dirty="0">
                <a:solidFill>
                  <a:schemeClr val="bg1"/>
                </a:solidFill>
                <a:cs typeface="Arial" panose="020B0604020202020204" pitchFamily="34" charset="0"/>
                <a:sym typeface="Helvetica Light"/>
              </a:rPr>
              <a:t>разработка собственных, внедрение заимствованных</a:t>
            </a:r>
          </a:p>
        </p:txBody>
      </p:sp>
    </p:spTree>
    <p:extLst>
      <p:ext uri="{BB962C8B-B14F-4D97-AF65-F5344CB8AC3E}">
        <p14:creationId xmlns:p14="http://schemas.microsoft.com/office/powerpoint/2010/main" val="1900904755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Рынок ИТ в медицине РФ в цифрах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CA926A-4C71-41EA-A666-799320036720}"/>
              </a:ext>
            </a:extLst>
          </p:cNvPr>
          <p:cNvSpPr txBox="1"/>
          <p:nvPr/>
        </p:nvSpPr>
        <p:spPr>
          <a:xfrm>
            <a:off x="370833" y="1406853"/>
            <a:ext cx="2149084" cy="21749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defTabSz="41275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b="1" kern="0" dirty="0">
                <a:solidFill>
                  <a:srgbClr val="51C3F9"/>
                </a:solidFill>
                <a:latin typeface="Open Sans"/>
                <a:sym typeface="Helvetica Light"/>
              </a:rPr>
              <a:t>Частная медицина – </a:t>
            </a:r>
            <a:r>
              <a:rPr lang="ru-RU" sz="3000" b="1" kern="0" dirty="0">
                <a:solidFill>
                  <a:srgbClr val="51C3F9"/>
                </a:solidFill>
                <a:latin typeface="Open Sans"/>
                <a:sym typeface="Helvetica Light"/>
              </a:rPr>
              <a:t>менее 5%</a:t>
            </a:r>
            <a:r>
              <a:rPr lang="ru-RU" b="1" kern="0" dirty="0">
                <a:solidFill>
                  <a:srgbClr val="51C3F9"/>
                </a:solidFill>
                <a:latin typeface="Open Sans"/>
                <a:sym typeface="Helvetica Light"/>
              </a:rPr>
              <a:t> рынка, почти весь рынок – государственные закупки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FEC215-0279-4F7C-8F36-B044E58F88E0}"/>
              </a:ext>
            </a:extLst>
          </p:cNvPr>
          <p:cNvSpPr txBox="1"/>
          <p:nvPr/>
        </p:nvSpPr>
        <p:spPr>
          <a:xfrm>
            <a:off x="3134199" y="1267661"/>
            <a:ext cx="2943327" cy="20826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defTabSz="41275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b="1" kern="0" dirty="0">
                <a:solidFill>
                  <a:srgbClr val="FF9900"/>
                </a:solidFill>
                <a:latin typeface="Open Sans"/>
                <a:sym typeface="Helvetica Light"/>
              </a:rPr>
              <a:t>Размер рынка – </a:t>
            </a:r>
            <a:r>
              <a:rPr lang="ru-RU" sz="3000" b="1" kern="0" dirty="0">
                <a:solidFill>
                  <a:srgbClr val="FF9900"/>
                </a:solidFill>
                <a:latin typeface="Open Sans"/>
                <a:sym typeface="Helvetica Light"/>
              </a:rPr>
              <a:t>3.9 млрд рублей </a:t>
            </a:r>
            <a:r>
              <a:rPr lang="ru-RU" b="1" kern="0" dirty="0">
                <a:solidFill>
                  <a:srgbClr val="FF9900"/>
                </a:solidFill>
                <a:latin typeface="Open Sans"/>
                <a:sym typeface="Helvetica Light"/>
              </a:rPr>
              <a:t>в 2016 году, из них примерно 0.4 млрд – решения на базе 1С и Парус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3CDA487-A4BD-4EC1-A1A1-BB2B158C10DD}"/>
              </a:ext>
            </a:extLst>
          </p:cNvPr>
          <p:cNvSpPr/>
          <p:nvPr/>
        </p:nvSpPr>
        <p:spPr>
          <a:xfrm>
            <a:off x="6290545" y="1717537"/>
            <a:ext cx="25132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3000" b="1" kern="0" dirty="0">
                <a:solidFill>
                  <a:srgbClr val="37A76F">
                    <a:lumMod val="75000"/>
                  </a:srgbClr>
                </a:solidFill>
                <a:latin typeface="Open Sans"/>
                <a:sym typeface="Helvetica Light"/>
              </a:rPr>
              <a:t>300%</a:t>
            </a:r>
            <a:r>
              <a:rPr lang="ru-RU" b="1" kern="0" dirty="0">
                <a:solidFill>
                  <a:srgbClr val="37A76F">
                    <a:lumMod val="75000"/>
                  </a:srgbClr>
                </a:solidFill>
                <a:latin typeface="Open Sans"/>
                <a:sym typeface="Helvetica Light"/>
              </a:rPr>
              <a:t> - ожидаемый рост российского рынка ИТ в медицине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3B08889-4252-4BE3-B126-005C6C668247}"/>
              </a:ext>
            </a:extLst>
          </p:cNvPr>
          <p:cNvSpPr/>
          <p:nvPr/>
        </p:nvSpPr>
        <p:spPr>
          <a:xfrm>
            <a:off x="3134199" y="3819292"/>
            <a:ext cx="295656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b="1" kern="0" dirty="0">
                <a:solidFill>
                  <a:srgbClr val="FF0000"/>
                </a:solidFill>
                <a:latin typeface="Open Sans"/>
                <a:sym typeface="Helvetica Light"/>
              </a:rPr>
              <a:t>Вместе с г. Москва 15 ведущих регионов РФ тратят  </a:t>
            </a:r>
            <a:r>
              <a:rPr lang="ru-RU" sz="3000" b="1" kern="0" dirty="0">
                <a:solidFill>
                  <a:srgbClr val="FF0000"/>
                </a:solidFill>
                <a:latin typeface="Open Sans"/>
                <a:sym typeface="Helvetica Light"/>
              </a:rPr>
              <a:t>80% </a:t>
            </a:r>
            <a:r>
              <a:rPr lang="ru-RU" b="1" kern="0" dirty="0">
                <a:solidFill>
                  <a:srgbClr val="FF0000"/>
                </a:solidFill>
                <a:latin typeface="Open Sans"/>
                <a:sym typeface="Helvetica Light"/>
              </a:rPr>
              <a:t>госзаказа на информатизацию здравоохранения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FE879A3-99CB-4B2B-81B2-5A49AC1BA271}"/>
              </a:ext>
            </a:extLst>
          </p:cNvPr>
          <p:cNvSpPr/>
          <p:nvPr/>
        </p:nvSpPr>
        <p:spPr>
          <a:xfrm>
            <a:off x="8576106" y="1028193"/>
            <a:ext cx="3440776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b="1" kern="0" dirty="0">
                <a:solidFill>
                  <a:srgbClr val="0E4AA1"/>
                </a:solidFill>
                <a:latin typeface="Open Sans"/>
                <a:sym typeface="Helvetica Light"/>
              </a:rPr>
              <a:t>Более</a:t>
            </a:r>
            <a:r>
              <a:rPr lang="ru-RU" sz="3000" b="1" kern="0" dirty="0">
                <a:solidFill>
                  <a:srgbClr val="0E4AA1"/>
                </a:solidFill>
                <a:latin typeface="Open Sans"/>
                <a:sym typeface="Helvetica Light"/>
              </a:rPr>
              <a:t> 60%  </a:t>
            </a:r>
            <a:r>
              <a:rPr lang="ru-RU" b="1" kern="0" dirty="0">
                <a:solidFill>
                  <a:srgbClr val="0E4AA1"/>
                </a:solidFill>
                <a:latin typeface="Open Sans"/>
                <a:sym typeface="Helvetica Light"/>
              </a:rPr>
              <a:t>всех доработок связаны с изменением законодательства и отчетностью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118C887-2D14-4A28-B407-6EE490F2567C}"/>
              </a:ext>
            </a:extLst>
          </p:cNvPr>
          <p:cNvSpPr/>
          <p:nvPr/>
        </p:nvSpPr>
        <p:spPr>
          <a:xfrm>
            <a:off x="402475" y="4649456"/>
            <a:ext cx="221032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3000" b="1" kern="0" dirty="0">
                <a:solidFill>
                  <a:srgbClr val="CC0099"/>
                </a:solidFill>
                <a:latin typeface="Open Sans"/>
                <a:sym typeface="Helvetica Light"/>
              </a:rPr>
              <a:t>50</a:t>
            </a:r>
            <a:r>
              <a:rPr lang="ru-RU" sz="3000" b="1" kern="0" dirty="0">
                <a:solidFill>
                  <a:srgbClr val="CC0099"/>
                </a:solidFill>
                <a:latin typeface="Open Sans"/>
                <a:sym typeface="Helvetica Light"/>
              </a:rPr>
              <a:t>% </a:t>
            </a:r>
            <a:r>
              <a:rPr lang="ru-RU" b="1" kern="0" dirty="0">
                <a:solidFill>
                  <a:srgbClr val="CC0099"/>
                </a:solidFill>
                <a:latin typeface="Open Sans"/>
                <a:sym typeface="Helvetica Light"/>
              </a:rPr>
              <a:t>рынка </a:t>
            </a:r>
            <a:r>
              <a:rPr lang="en-US" b="1" kern="0" dirty="0">
                <a:solidFill>
                  <a:srgbClr val="CC0099"/>
                </a:solidFill>
                <a:latin typeface="Open Sans"/>
                <a:sym typeface="Helvetica Light"/>
              </a:rPr>
              <a:t>– </a:t>
            </a:r>
            <a:r>
              <a:rPr lang="ru-RU" b="1" kern="0" dirty="0">
                <a:solidFill>
                  <a:srgbClr val="CC0099"/>
                </a:solidFill>
                <a:latin typeface="Open Sans"/>
                <a:sym typeface="Helvetica Light"/>
              </a:rPr>
              <a:t>государственные закупки г. Москва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40D5C86-226A-41B1-AFEF-E26F1D52D57E}"/>
              </a:ext>
            </a:extLst>
          </p:cNvPr>
          <p:cNvSpPr/>
          <p:nvPr/>
        </p:nvSpPr>
        <p:spPr>
          <a:xfrm>
            <a:off x="7651836" y="3265294"/>
            <a:ext cx="416933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3000" b="1" kern="0" dirty="0">
                <a:solidFill>
                  <a:prstClr val="black"/>
                </a:solidFill>
                <a:latin typeface="Open Sans"/>
                <a:sym typeface="Helvetica Light"/>
              </a:rPr>
              <a:t>0% </a:t>
            </a:r>
            <a:r>
              <a:rPr lang="ru-RU" b="1" kern="0" dirty="0">
                <a:solidFill>
                  <a:prstClr val="black"/>
                </a:solidFill>
                <a:latin typeface="Open Sans"/>
                <a:sym typeface="Helvetica Light"/>
              </a:rPr>
              <a:t>увеличение рынка после принятия закона «о телемедицине»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4FB1EA5-5B18-47E6-B084-AF73BD187E2C}"/>
              </a:ext>
            </a:extLst>
          </p:cNvPr>
          <p:cNvSpPr/>
          <p:nvPr/>
        </p:nvSpPr>
        <p:spPr>
          <a:xfrm>
            <a:off x="6892724" y="4655683"/>
            <a:ext cx="4799061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275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3000" b="1" kern="0" dirty="0">
                <a:solidFill>
                  <a:srgbClr val="9966FF"/>
                </a:solidFill>
                <a:latin typeface="Open Sans"/>
                <a:sym typeface="Helvetica Light"/>
              </a:rPr>
              <a:t>29% </a:t>
            </a:r>
            <a:r>
              <a:rPr lang="ru-RU" b="1" kern="0" dirty="0">
                <a:solidFill>
                  <a:srgbClr val="9966FF"/>
                </a:solidFill>
                <a:latin typeface="Open Sans"/>
                <a:sym typeface="Helvetica Light"/>
              </a:rPr>
              <a:t>производителей ПО получают государственные контракты. Остальное – перепродажа через федеральных и региональных системных интеграторов</a:t>
            </a:r>
          </a:p>
        </p:txBody>
      </p:sp>
    </p:spTree>
    <p:extLst>
      <p:ext uri="{BB962C8B-B14F-4D97-AF65-F5344CB8AC3E}">
        <p14:creationId xmlns:p14="http://schemas.microsoft.com/office/powerpoint/2010/main" val="883587547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ОНФ: опрос врачей по информатизации здравоохран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E530E5A-520B-4378-85B6-61F0BC6ADF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738" y="1039320"/>
            <a:ext cx="10379972" cy="505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577089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ОНФ: опрос врачей по информатизации здравоохран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D9751DF-7043-482D-A40E-0896FAB061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112" y="1412776"/>
            <a:ext cx="10344472" cy="5078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461745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ОНФ: опрос врачей по информатизации здравоохран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1D221A8-A321-4942-B39F-72732F124A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63" y="1196752"/>
            <a:ext cx="11071157" cy="5472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465790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ОНФ: опрос врачей по информатизации здравоохран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C95C738-9130-4B62-A0E3-D62A15658A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1686" y="1268760"/>
            <a:ext cx="10022359" cy="533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143941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ОНФ: опрос врачей по информатизации здравоохран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3E39BC7-9954-4758-A8FD-E4AE584536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7448" y="1340768"/>
            <a:ext cx="10579386" cy="5271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257870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ОНФ: опрос врачей по информатизации здравоохран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1ECFFC3-09B4-46F0-90D6-92F65B864D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432" y="1196752"/>
            <a:ext cx="10056440" cy="5365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845505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ОНФ: опрос врачей по информатизации здравоохран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0A738CD-0977-411B-BA9E-38096D36EF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3252" y="1412776"/>
            <a:ext cx="9480376" cy="5081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512986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ОНФ: опрос врачей по информатизации здравоохран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B1293B1-3EA3-409F-A2A7-19DB23458E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088" y="1196752"/>
            <a:ext cx="10560496" cy="532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63055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Здравоохранение граждан беспокоит: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3CAEF33-B5F3-4BD3-99FF-06A03A88F8A9}"/>
              </a:ext>
            </a:extLst>
          </p:cNvPr>
          <p:cNvSpPr/>
          <p:nvPr/>
        </p:nvSpPr>
        <p:spPr>
          <a:xfrm>
            <a:off x="551384" y="6320352"/>
            <a:ext cx="83613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Calibri"/>
              </a:rPr>
              <a:t>Источник: Оценка Российского здравоохранения, ВЦИОМ, 2017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D50E52F-417E-4C7F-B30D-7ACF9B8342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52" y="836712"/>
            <a:ext cx="9793088" cy="492223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DC3997-8212-454E-9E11-21292D81DFC6}"/>
              </a:ext>
            </a:extLst>
          </p:cNvPr>
          <p:cNvSpPr txBox="1"/>
          <p:nvPr/>
        </p:nvSpPr>
        <p:spPr>
          <a:xfrm>
            <a:off x="5195900" y="5879206"/>
            <a:ext cx="6552728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Плохо + Очень Плохо						</a:t>
            </a:r>
            <a:r>
              <a:rPr kumimoji="0" lang="ru-RU" sz="2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52%</a:t>
            </a:r>
          </a:p>
          <a:p>
            <a:pPr marL="0" marR="0" indent="0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dirty="0">
                <a:solidFill>
                  <a:srgbClr val="000000"/>
                </a:solidFill>
                <a:latin typeface="+mn-lt"/>
                <a:sym typeface="Helvetica Light"/>
              </a:rPr>
              <a:t>Плохо + Очень Плохо + Удовлетворительно		</a:t>
            </a:r>
            <a:r>
              <a:rPr lang="ru-RU" sz="2000" b="1" dirty="0">
                <a:solidFill>
                  <a:srgbClr val="000000"/>
                </a:solidFill>
                <a:latin typeface="+mn-lt"/>
                <a:sym typeface="Helvetica Light"/>
              </a:rPr>
              <a:t>89%</a:t>
            </a:r>
            <a:endParaRPr kumimoji="0" lang="ru-RU" sz="2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59940663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Вопрос мотива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E2EC40A-2CA1-48A9-9C52-428229B1A2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3512" y="1268760"/>
            <a:ext cx="8434279" cy="4890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21275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5" name="WordArt 3">
            <a:extLst>
              <a:ext uri="{FF2B5EF4-FFF2-40B4-BE49-F238E27FC236}">
                <a16:creationId xmlns:a16="http://schemas.microsoft.com/office/drawing/2014/main" id="{800DB756-652E-43EA-987B-A770D75140D7}"/>
              </a:ext>
            </a:extLst>
          </p:cNvPr>
          <p:cNvSpPr>
            <a:spLocks noChangeArrowheads="1" noChangeShapeType="1" noTextEdit="1"/>
          </p:cNvSpPr>
          <p:nvPr/>
        </p:nvSpPr>
        <p:spPr bwMode="gray">
          <a:xfrm>
            <a:off x="2495601" y="3482976"/>
            <a:ext cx="7056783" cy="530225"/>
          </a:xfrm>
          <a:prstGeom prst="rect">
            <a:avLst/>
          </a:prstGeom>
        </p:spPr>
        <p:txBody>
          <a:bodyPr wrap="none" fromWordArt="1">
            <a:prstTxWarp prst="textDeflate">
              <a:avLst>
                <a:gd name="adj" fmla="val 0"/>
              </a:avLst>
            </a:prstTxWarp>
          </a:bodyPr>
          <a:lstStyle/>
          <a:p>
            <a:pPr algn="ctr"/>
            <a:r>
              <a:rPr lang="ru-RU" sz="5400" b="1" kern="10" dirty="0">
                <a:ln w="19050">
                  <a:solidFill>
                    <a:schemeClr val="bg1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chemeClr val="tx1"/>
                    </a:gs>
                    <a:gs pos="100000">
                      <a:schemeClr val="accent1"/>
                    </a:gs>
                  </a:gsLst>
                  <a:lin ang="5400000" scaled="1"/>
                </a:gradFill>
                <a:effectLst>
                  <a:outerShdw dist="71842" dir="2700000" algn="ctr" rotWithShape="0">
                    <a:schemeClr val="bg2">
                      <a:alpha val="50000"/>
                    </a:scheme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асибо за внимание</a:t>
            </a:r>
            <a:r>
              <a:rPr lang="en-US" sz="5400" b="1" kern="10" dirty="0">
                <a:ln w="19050">
                  <a:solidFill>
                    <a:schemeClr val="bg1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chemeClr val="tx1"/>
                    </a:gs>
                    <a:gs pos="100000">
                      <a:schemeClr val="accent1"/>
                    </a:gs>
                  </a:gsLst>
                  <a:lin ang="5400000" scaled="1"/>
                </a:gradFill>
                <a:effectLst>
                  <a:outerShdw dist="71842" dir="2700000" algn="ctr" rotWithShape="0">
                    <a:schemeClr val="bg2">
                      <a:alpha val="50000"/>
                    </a:scheme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!</a:t>
            </a:r>
            <a:endParaRPr lang="ru-RU" sz="5400" b="1" kern="10" dirty="0">
              <a:ln w="19050">
                <a:solidFill>
                  <a:schemeClr val="bg1"/>
                </a:solidFill>
                <a:round/>
                <a:headEnd/>
                <a:tailEnd/>
              </a:ln>
              <a:gradFill rotWithShape="1">
                <a:gsLst>
                  <a:gs pos="0">
                    <a:schemeClr val="tx1"/>
                  </a:gs>
                  <a:gs pos="100000">
                    <a:schemeClr val="accent1"/>
                  </a:gs>
                </a:gsLst>
                <a:lin ang="5400000" scaled="1"/>
              </a:gradFill>
              <a:effectLst>
                <a:outerShdw dist="71842" dir="2700000" algn="ctr" rotWithShape="0">
                  <a:schemeClr val="bg2">
                    <a:alpha val="50000"/>
                  </a:scheme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396" name="Rectangle 4">
            <a:extLst>
              <a:ext uri="{FF2B5EF4-FFF2-40B4-BE49-F238E27FC236}">
                <a16:creationId xmlns:a16="http://schemas.microsoft.com/office/drawing/2014/main" id="{685A0042-149A-4B6B-AF2F-13575730E2EE}"/>
              </a:ext>
            </a:extLst>
          </p:cNvPr>
          <p:cNvSpPr>
            <a:spLocks noChangeArrowheads="1"/>
          </p:cNvSpPr>
          <p:nvPr/>
        </p:nvSpPr>
        <p:spPr bwMode="white">
          <a:xfrm>
            <a:off x="3048000" y="5181600"/>
            <a:ext cx="70866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algn="ctr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algn="ctr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ctr">
              <a:spcBef>
                <a:spcPct val="20000"/>
              </a:spcBef>
              <a:buClr>
                <a:schemeClr val="tx1"/>
              </a:buCl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ctr"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ctr"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algn="ctr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algn="ctr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algn="ctr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algn="ctr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ru-RU" sz="2000" dirty="0"/>
              <a:t>www.themegallery.com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C92D590-946D-41BA-BFE8-DD24E594F4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787" y="1916832"/>
            <a:ext cx="1036410" cy="1042506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Изображение выглядит как снимок экрана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BCAA71C1-E192-4D2B-AEF8-733D54D83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75" y="381000"/>
            <a:ext cx="1106805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7339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Изображение выглядит как снимок экрана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13B2073E-3E25-4352-B6EE-801AA8E9C6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87" y="366712"/>
            <a:ext cx="11096625" cy="6124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1699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396536" cy="898347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Население концентрирует внимание на проблемах: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08C224FC-AF48-4A2F-82B6-B6DA0CF0E4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8799702"/>
              </p:ext>
            </p:extLst>
          </p:nvPr>
        </p:nvGraphicFramePr>
        <p:xfrm>
          <a:off x="911424" y="908720"/>
          <a:ext cx="1058517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7683168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116632"/>
            <a:ext cx="9289032" cy="864096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Основная дилемма: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44FF080-06B2-4856-9052-E3C3186C44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400" y="1124744"/>
            <a:ext cx="2657475" cy="35433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44D6BA0-EF15-43D9-A1C2-AC2BC522D57A}"/>
              </a:ext>
            </a:extLst>
          </p:cNvPr>
          <p:cNvSpPr txBox="1"/>
          <p:nvPr/>
        </p:nvSpPr>
        <p:spPr>
          <a:xfrm>
            <a:off x="976611" y="4748914"/>
            <a:ext cx="4752528" cy="176458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Здравоохранение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необходимо больше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финансировать!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898DBF3-721B-441E-A950-F2F648DABC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2344" y="1139652"/>
            <a:ext cx="2373501" cy="352839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5D39F6C-C6C0-4D16-8764-0606FB7D0904}"/>
              </a:ext>
            </a:extLst>
          </p:cNvPr>
          <p:cNvSpPr txBox="1"/>
          <p:nvPr/>
        </p:nvSpPr>
        <p:spPr>
          <a:xfrm>
            <a:off x="5663952" y="4539417"/>
            <a:ext cx="4752528" cy="23185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Нет смысла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финансировать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неэффективную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систему!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80B090F-DA84-44D1-AD4B-6E2549E584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503" y="811194"/>
            <a:ext cx="4194994" cy="389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720395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D47B245-EAEB-4F91-B860-26CAE2B8DC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5640" y="453033"/>
            <a:ext cx="5951934" cy="5951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0120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199456" y="50809"/>
            <a:ext cx="9396536" cy="544996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t">
            <a:noAutofit/>
          </a:bodyPr>
          <a:lstStyle>
            <a:lvl1pPr marL="0" indent="0" algn="l" fontAlgn="t">
              <a:spcBef>
                <a:spcPts val="0"/>
              </a:spcBef>
              <a:buSzTx/>
              <a:buNone/>
              <a:defRPr sz="2400" b="0">
                <a:solidFill>
                  <a:schemeClr val="tx1"/>
                </a:solidFill>
                <a:latin typeface="Calibri Light" panose="020F0302020204030204" pitchFamily="34" charset="0"/>
                <a:cs typeface="Helvetica"/>
              </a:defRPr>
            </a:lvl1pPr>
            <a:lvl2pPr marL="0">
              <a:spcBef>
                <a:spcPts val="0"/>
              </a:spcBef>
              <a:buSzTx/>
              <a:buNone/>
              <a:defRPr sz="3200"/>
            </a:lvl2pPr>
            <a:lvl3pPr marL="0">
              <a:spcBef>
                <a:spcPts val="0"/>
              </a:spcBef>
              <a:buSzTx/>
              <a:buNone/>
              <a:defRPr sz="3200"/>
            </a:lvl3pPr>
            <a:lvl4pPr marL="0">
              <a:spcBef>
                <a:spcPts val="0"/>
              </a:spcBef>
              <a:buSzTx/>
              <a:buNone/>
              <a:defRPr sz="3200"/>
            </a:lvl4pPr>
            <a:lvl5pPr marL="0">
              <a:spcBef>
                <a:spcPts val="0"/>
              </a:spcBef>
              <a:buSzTx/>
              <a:buNone/>
              <a:defRPr sz="3200"/>
            </a:lvl5pPr>
            <a:lvl6pPr marL="2667000" indent="-444500">
              <a:spcBef>
                <a:spcPts val="4200"/>
              </a:spcBef>
              <a:buSzPct val="75000"/>
              <a:buChar char="•"/>
            </a:lvl6pPr>
            <a:lvl7pPr marL="3111500" indent="-444500">
              <a:spcBef>
                <a:spcPts val="4200"/>
              </a:spcBef>
              <a:buSzPct val="75000"/>
              <a:buChar char="•"/>
            </a:lvl7pPr>
            <a:lvl8pPr marL="3556000" indent="-444500">
              <a:spcBef>
                <a:spcPts val="4200"/>
              </a:spcBef>
              <a:buSzPct val="75000"/>
              <a:buChar char="•"/>
            </a:lvl8pPr>
            <a:lvl9pPr marL="4000500" indent="-444500">
              <a:spcBef>
                <a:spcPts val="4200"/>
              </a:spcBef>
              <a:buSzPct val="75000"/>
              <a:buChar char="•"/>
            </a:lvl9pPr>
          </a:lstStyle>
          <a:p>
            <a:pPr algn="ctr" defTabSz="308049">
              <a:spcAft>
                <a:spcPts val="0"/>
              </a:spcAft>
            </a:pPr>
            <a:r>
              <a:rPr lang="ru-RU" sz="2800" b="1" dirty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Улучшение системы здравоохранен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96600" y="6230664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F457AE03-AF12-45B9-B1E0-EFD4DC4CD3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1789839"/>
              </p:ext>
            </p:extLst>
          </p:nvPr>
        </p:nvGraphicFramePr>
        <p:xfrm>
          <a:off x="350059" y="454988"/>
          <a:ext cx="11521280" cy="4746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Рисунок 3" descr="Галочка">
            <a:extLst>
              <a:ext uri="{FF2B5EF4-FFF2-40B4-BE49-F238E27FC236}">
                <a16:creationId xmlns:a16="http://schemas.microsoft.com/office/drawing/2014/main" id="{1BCCB8B1-8442-48D4-95EA-2E8BCE4C2E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760296" y="5148311"/>
            <a:ext cx="914400" cy="914400"/>
          </a:xfrm>
          <a:prstGeom prst="rect">
            <a:avLst/>
          </a:prstGeom>
        </p:spPr>
      </p:pic>
      <p:pic>
        <p:nvPicPr>
          <p:cNvPr id="7" name="Рисунок 6" descr="Закрыть">
            <a:extLst>
              <a:ext uri="{FF2B5EF4-FFF2-40B4-BE49-F238E27FC236}">
                <a16:creationId xmlns:a16="http://schemas.microsoft.com/office/drawing/2014/main" id="{E1BE24C0-67C1-41C2-8C80-C2834635DF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423592" y="511416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768951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5F3347-5991-4A34-B5D1-7BC2E4114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2584" y="116632"/>
            <a:ext cx="604502" cy="608058"/>
          </a:xfrm>
          <a:prstGeom prst="rect">
            <a:avLst/>
          </a:prstGeom>
        </p:spPr>
      </p:pic>
      <p:sp>
        <p:nvSpPr>
          <p:cNvPr id="17" name="Shape 35">
            <a:extLst>
              <a:ext uri="{FF2B5EF4-FFF2-40B4-BE49-F238E27FC236}">
                <a16:creationId xmlns:a16="http://schemas.microsoft.com/office/drawing/2014/main" id="{BFF7E5E9-4A36-483B-8894-4539873769D4}"/>
              </a:ext>
            </a:extLst>
          </p:cNvPr>
          <p:cNvSpPr txBox="1">
            <a:spLocks/>
          </p:cNvSpPr>
          <p:nvPr/>
        </p:nvSpPr>
        <p:spPr>
          <a:xfrm>
            <a:off x="3525414" y="8442176"/>
            <a:ext cx="7488832" cy="21602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>
            <a:lvl1pPr lvl="0" algn="l">
              <a:defRPr sz="2400"/>
            </a:lvl1pPr>
            <a:lvl2pPr>
              <a:defRPr sz="8000"/>
            </a:lvl2pPr>
            <a:lvl3pPr>
              <a:defRPr sz="8000"/>
            </a:lvl3pPr>
            <a:lvl4pPr>
              <a:defRPr sz="8000"/>
            </a:lvl4pPr>
            <a:lvl5pPr>
              <a:defRPr sz="8000"/>
            </a:lvl5pPr>
            <a:lvl6pPr>
              <a:defRPr sz="8000"/>
            </a:lvl6pPr>
            <a:lvl7pPr>
              <a:defRPr sz="8000"/>
            </a:lvl7pPr>
            <a:lvl8pPr>
              <a:defRPr sz="8000"/>
            </a:lvl8pPr>
            <a:lvl9pPr>
              <a:defRPr sz="8000"/>
            </a:lvl9pPr>
          </a:lstStyle>
          <a:p>
            <a:pPr marL="342900" indent="-342900" defTabSz="3080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898" kern="0" dirty="0">
              <a:solidFill>
                <a:srgbClr val="000000"/>
              </a:solidFill>
              <a:latin typeface="Calibri Light" panose="020F0302020204030204" pitchFamily="34" charset="0"/>
              <a:cs typeface="Helvetica"/>
              <a:sym typeface="Helvetica Light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20D4256-976A-4141-A2D6-D046404495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28" y="95250"/>
            <a:ext cx="4733925" cy="66675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B410545-8EE4-45D0-BF01-F0B3EAC4AE96}"/>
              </a:ext>
            </a:extLst>
          </p:cNvPr>
          <p:cNvSpPr txBox="1"/>
          <p:nvPr/>
        </p:nvSpPr>
        <p:spPr>
          <a:xfrm>
            <a:off x="4665675" y="1700808"/>
            <a:ext cx="7291411" cy="23185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4800" b="1" i="0" u="none" strike="noStrike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Georgia" panose="02040502050405020303" pitchFamily="18" charset="0"/>
                <a:sym typeface="Helvetica Light"/>
              </a:rPr>
              <a:t>«Вы не можете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4800" b="1" i="0" u="none" strike="noStrike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Georgia" panose="02040502050405020303" pitchFamily="18" charset="0"/>
                <a:sym typeface="Helvetica Light"/>
              </a:rPr>
              <a:t>управлять тем, что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4800" b="1" i="0" u="none" strike="noStrike" cap="none" spc="0" normalizeH="0" baseline="0" dirty="0">
                <a:ln>
                  <a:noFill/>
                </a:ln>
                <a:solidFill>
                  <a:srgbClr val="0070C0"/>
                </a:solidFill>
                <a:effectLst/>
                <a:uFillTx/>
                <a:latin typeface="Georgia" panose="02040502050405020303" pitchFamily="18" charset="0"/>
                <a:sym typeface="Helvetica Light"/>
              </a:rPr>
              <a:t>не можете измерить»</a:t>
            </a:r>
          </a:p>
        </p:txBody>
      </p:sp>
    </p:spTree>
    <p:extLst>
      <p:ext uri="{BB962C8B-B14F-4D97-AF65-F5344CB8AC3E}">
        <p14:creationId xmlns:p14="http://schemas.microsoft.com/office/powerpoint/2010/main" val="2481035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C"/>
  <p:tag name="FONTSETCLASSNAME" val="FontSet1"/>
  <p:tag name="COLORS" val="-2;-2;-2;-2;SlideTitelFontColorDark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TitleSubTitleOnG2T"/>
  <p:tag name="SHAPECLASSPROTECTIONTYP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extSlideTextFontC"/>
  <p:tag name="FONTSETCLASSNAME" val="FontSet1"/>
  <p:tag name="COLORS" val="-2;-2;-2;-2;-2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PROTECTIONTYPE" val="3"/>
  <p:tag name="SHAPECLASSNAME" val="LargeTextBox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PROTECTIONTYPE" val="31"/>
  <p:tag name="SHAPECLASSNAME" val="Hidden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PROTECTIONTYPE" val="31"/>
  <p:tag name="SHAPECLASSNAME" val="HiddenPage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HiddenFooterG1"/>
  <p:tag name="SHAPECLASSPROTECTIONTYPE" val="3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HiddenDateG1"/>
  <p:tag name="SHAPECLASSPROTECTIONTYPE" val="3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HiddenPageNoG1"/>
  <p:tag name="SHAPECLASSPROTECTIONTYPE" val="3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HiddenFooterG1"/>
  <p:tag name="SHAPECLASSPROTECTIONTYPE" val="3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HiddenDateG1"/>
  <p:tag name="SHAPECLASSPROTECTIONTYPE" val="3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HiddenPageNoG1"/>
  <p:tag name="SHAPECLASSPROTECTIONTYPE" val="3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HiddenFooterG1"/>
  <p:tag name="SHAPECLASSPROTECTIONTYPE" val="3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HiddenDateG1"/>
  <p:tag name="SHAPECLASSPROTECTIONTYPE" val="3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1"/>
  <p:tag name="SHAPECLASSNAME" val="HiddenPageNoG1"/>
  <p:tag name="SHAPECLASSPROTECTIONTYPE" val="3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SlideTitleFontC"/>
  <p:tag name="FONTSETCLASSNAME" val="FontSet1"/>
  <p:tag name="COLORS" val="-2;-2;-2;-2;TitleSlideTitleFontColorLight;-2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1"/>
  <p:tag name="SHAPECLASSNAME" val="TitleOnTitleSlide"/>
  <p:tag name="SHAPECLASSPROTECTIONTYPE" val="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1"/>
  <p:tag name="SHAPECLASSNAME" val="HiddenSubtitle"/>
  <p:tag name="SHAPECLASSPROTECTIONTYPE" val="3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1"/>
  <p:tag name="SHAPECLASSNAME" val="HiddenFooter"/>
  <p:tag name="SHAPECLASSPROTECTIONTYPE" val="3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1"/>
  <p:tag name="SHAPECLASSNAME" val="HiddenPageNumber"/>
  <p:tag name="SHAPECLASSPROTECTIONTYPE" val="3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Color;-2"/>
  <p:tag name="COLORSETCLASSNAME" val="ColorSet1"/>
  <p:tag name="MLI" val="1"/>
  <p:tag name="SHAPESETGROUPCLASSNAME" val="ShapeSetGroup2"/>
  <p:tag name="COLORSETGROUPCLASSNAME" val="ColorSetGroupLight"/>
  <p:tag name="FONTSETGROUPCLASSNAME" val="FontSetGroup1"/>
  <p:tag name="SHAPECLASSNAME" val="HiddenDate"/>
  <p:tag name="SHAPECLASSPROTECTIONTYPE" val="31"/>
  <p:tag name="SHAPESETCLASSNAME" val="TitleSlid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FooterFontC"/>
  <p:tag name="FONTSETCLASSNAME" val="FontSet1"/>
  <p:tag name="COLORS" val="-2;-2;-2;-2;SlideFooterFontColorDark;-2"/>
  <p:tag name="COLORSETCLASSNAME" val="ColorSet1"/>
  <p:tag name="SCRIPT" val="1"/>
  <p:tag name="FIELDS" val="DATE;DIVISION;ADDINFO;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FLineInfo1BlackG1S3"/>
  <p:tag name="SHAPECLASSPROTECTIONTYPE" val="6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PageNumberFontC"/>
  <p:tag name="FONTSETCLASSNAME" val="FontSet1"/>
  <p:tag name="COLORS" val="-2;-2;-2;-2;SlidePageNoFontColorLight;-2"/>
  <p:tag name="COLORSETCLASSNAME" val="ColorSet1"/>
  <p:tag name="SCRIPT" val="1"/>
  <p:tag name="MLI" val="1"/>
  <p:tag name="SHAPESETGROUPCLASSNAME" val="ShapeSetGroup2"/>
  <p:tag name="SHAPESETCLASSNAME" val="COLORSLIDE01"/>
  <p:tag name="COLORSETGROUPCLASSNAME" val="ColorSetGroupLight"/>
  <p:tag name="FONTSETGROUPCLASSNAME" val="FontSetGroup1"/>
  <p:tag name="SHAPECLASSNAME" val="PageNoWhiteG1S3"/>
  <p:tag name="SHAPECLASSPROTECTIONTYPE" val="4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TextFontColorLight;-2"/>
  <p:tag name="COLORSETCLASSNAME" val="ColorSet1"/>
  <p:tag name="MLI" val="1"/>
  <p:tag name="SHAPESETGROUPCLASSNAME" val="ShapeSetGroup2"/>
  <p:tag name="SHAPESETCLASSNAME" val="CONTENTTITLETEXT01"/>
  <p:tag name="COLORSETGROUPCLASSNAME" val="ColorSetGroupLight"/>
  <p:tag name="FONTSETGROUPCLASSNAME" val="FontSetGroup1"/>
  <p:tag name="SHAPECLASSNAME" val="ContentSmalLeftG3S1"/>
  <p:tag name="SHAPECLASSPROTECTIONTYP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TextFontColorLight;-2"/>
  <p:tag name="COLORSETCLASSNAME" val="ColorSet1"/>
  <p:tag name="MLI" val="1"/>
  <p:tag name="SHAPESETGROUPCLASSNAME" val="ShapeSetGroup2"/>
  <p:tag name="SHAPESETCLASSNAME" val="TITLEBIGCONTENTTEXT01"/>
  <p:tag name="COLORSETGROUPCLASSNAME" val="ColorSetGroupLight"/>
  <p:tag name="FONTSETGROUPCLASSNAME" val="FontSetGroup1"/>
  <p:tag name="SHAPECLASSNAME" val="ContentBigRightG3S4"/>
  <p:tag name="SHAPECLASSPROTECTIONTYP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TextFontColorLight;-2"/>
  <p:tag name="COLORSETCLASSNAME" val="ColorSet1"/>
  <p:tag name="MLI" val="1"/>
  <p:tag name="SHAPESETGROUPCLASSNAME" val="ShapeSetGroup2"/>
  <p:tag name="SHAPESETCLASSNAME" val="TITLETWOCONTENTTWOTEXT01"/>
  <p:tag name="COLORSETGROUPCLASSNAME" val="ColorSetGroupLight"/>
  <p:tag name="FONTSETGROUPCLASSNAME" val="FontSetGroup1"/>
  <p:tag name="SHAPECLASSNAME" val="ContentRightTopG3S3"/>
  <p:tag name="SHAPECLASSPROTECTIONTYPE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SlideTextFontColorLight;-2"/>
  <p:tag name="COLORSETCLASSNAME" val="ColorSet1"/>
  <p:tag name="MLI" val="1"/>
  <p:tag name="SHAPESETGROUPCLASSNAME" val="ShapeSetGroup2"/>
  <p:tag name="SHAPESETCLASSNAME" val="TITLETWOCONTENTTWOTEXT01"/>
  <p:tag name="COLORSETGROUPCLASSNAME" val="ColorSetGroupLight"/>
  <p:tag name="FONTSETGROUPCLASSNAME" val="FontSetGroup1"/>
  <p:tag name="SHAPECLASSNAME" val="ContentLeftTopG3S3"/>
  <p:tag name="SHAPECLASSPROTECTIONTYPE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theme/theme1.xml><?xml version="1.0" encoding="utf-8"?>
<a:theme xmlns:a="http://schemas.openxmlformats.org/drawingml/2006/main" name="blank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B9B9B9"/>
      </a:lt2>
      <a:accent1>
        <a:srgbClr val="0039A6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internal_documentation_template_nov13.pptx" id="{DE36B277-C83F-4A85-9819-A77CE0CA1F6F}" vid="{FCDF7755-76C1-4ABB-A274-22B823C3C882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lank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B9B9B9"/>
      </a:lt2>
      <a:accent1>
        <a:srgbClr val="0039A6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internal_documentation_template_nov13.pptx" id="{DE36B277-C83F-4A85-9819-A77CE0CA1F6F}" vid="{FCDF7755-76C1-4ABB-A274-22B823C3C882}"/>
    </a:ext>
  </a:extLst>
</a:theme>
</file>

<file path=ppt/theme/theme3.xml><?xml version="1.0" encoding="utf-8"?>
<a:theme xmlns:a="http://schemas.openxmlformats.org/drawingml/2006/main" name="14_blank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B9B9B9"/>
      </a:lt2>
      <a:accent1>
        <a:srgbClr val="0039A6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internal_documentation_template_nov13.pptx" id="{DE36B277-C83F-4A85-9819-A77CE0CA1F6F}" vid="{FCDF7755-76C1-4ABB-A274-22B823C3C882}"/>
    </a:ext>
  </a:extLst>
</a:theme>
</file>

<file path=ppt/theme/theme4.xml><?xml version="1.0" encoding="utf-8"?>
<a:theme xmlns:a="http://schemas.openxmlformats.org/drawingml/2006/main" name="1_Standarddesign">
  <a:themeElements>
    <a:clrScheme name="Benutzerdefiniert 1">
      <a:dk1>
        <a:srgbClr val="000000"/>
      </a:dk1>
      <a:lt1>
        <a:srgbClr val="FFFFFF"/>
      </a:lt1>
      <a:dk2>
        <a:srgbClr val="CCCEDB"/>
      </a:dk2>
      <a:lt2>
        <a:srgbClr val="000000"/>
      </a:lt2>
      <a:accent1>
        <a:srgbClr val="0089C4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89C4"/>
      </a:hlink>
      <a:folHlink>
        <a:srgbClr val="1E9D8B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internal.blank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B9B9B9"/>
      </a:lt2>
      <a:accent1>
        <a:srgbClr val="0039A6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internal_documentation_template_nov13.pptx" id="{DE36B277-C83F-4A85-9819-A77CE0CA1F6F}" vid="{FCDF7755-76C1-4ABB-A274-22B823C3C882}"/>
    </a:ext>
  </a:extLst>
</a:theme>
</file>

<file path=ppt/theme/theme6.xml><?xml version="1.0" encoding="utf-8"?>
<a:theme xmlns:a="http://schemas.openxmlformats.org/drawingml/2006/main" name="Options">
  <a:themeElements>
    <a:clrScheme name="PhCST">
      <a:dk1>
        <a:srgbClr val="000000"/>
      </a:dk1>
      <a:lt1>
        <a:srgbClr val="FFFFFF"/>
      </a:lt1>
      <a:dk2>
        <a:srgbClr val="000000"/>
      </a:dk2>
      <a:lt2>
        <a:srgbClr val="CCCEDB"/>
      </a:lt2>
      <a:accent1>
        <a:srgbClr val="0089C4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rtlCol="0">
        <a:spAutoFit/>
      </a:bodyPr>
      <a:lstStyle>
        <a:defPPr>
          <a:lnSpc>
            <a:spcPct val="80000"/>
          </a:lnSpc>
          <a:defRPr sz="1600" dirty="0" err="1" smtClean="0">
            <a:solidFill>
              <a:schemeClr val="tx1">
                <a:lumMod val="65000"/>
                <a:lumOff val="35000"/>
              </a:schemeClr>
            </a:solidFill>
            <a:ea typeface="ヒラギノ角ゴ Pro W3" pitchFamily="127" charset="-128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hilips_presentation_template_nov13.pptx" id="{6219C8AF-650B-4FE9-973F-1669F7AB164A}" vid="{0FEA75D1-DAF6-4EC9-A456-BB5B59A250AB}"/>
    </a:ext>
  </a:extLst>
</a:theme>
</file>

<file path=ppt/theme/theme7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3_blank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B9B9B9"/>
      </a:lt2>
      <a:accent1>
        <a:srgbClr val="0039A6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internal_documentation_template_nov13.pptx" id="{DE36B277-C83F-4A85-9819-A77CE0CA1F6F}" vid="{FCDF7755-76C1-4ABB-A274-22B823C3C882}"/>
    </a:ext>
  </a:extLst>
</a:theme>
</file>

<file path=ppt/theme/theme9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</Template>
  <TotalTime>13055</TotalTime>
  <Words>316</Words>
  <Application>Microsoft Office PowerPoint</Application>
  <PresentationFormat>Широкоэкранный</PresentationFormat>
  <Paragraphs>54</Paragraphs>
  <Slides>2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40" baseType="lpstr">
      <vt:lpstr>Arial</vt:lpstr>
      <vt:lpstr>Calibri</vt:lpstr>
      <vt:lpstr>Calibri Light</vt:lpstr>
      <vt:lpstr>Georgia</vt:lpstr>
      <vt:lpstr>Helvetica</vt:lpstr>
      <vt:lpstr>Helvetica Light</vt:lpstr>
      <vt:lpstr>Open Sans</vt:lpstr>
      <vt:lpstr>Verdana</vt:lpstr>
      <vt:lpstr>Wingdings</vt:lpstr>
      <vt:lpstr>blank</vt:lpstr>
      <vt:lpstr>1_blank</vt:lpstr>
      <vt:lpstr>14_blank</vt:lpstr>
      <vt:lpstr>1_Standarddesign</vt:lpstr>
      <vt:lpstr>internal.blank</vt:lpstr>
      <vt:lpstr>Options</vt:lpstr>
      <vt:lpstr>White</vt:lpstr>
      <vt:lpstr>3_blank</vt:lpstr>
      <vt:lpstr>Тема Office</vt:lpstr>
      <vt:lpstr>think-cell Slide</vt:lpstr>
      <vt:lpstr>Для конференции 10 апреля 2018 год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Guild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Mikle Bogema</dc:creator>
  <cp:lastModifiedBy>Mikle Bogema</cp:lastModifiedBy>
  <cp:revision>175</cp:revision>
  <cp:lastPrinted>2017-11-10T07:24:54Z</cp:lastPrinted>
  <dcterms:created xsi:type="dcterms:W3CDTF">2017-09-30T06:37:04Z</dcterms:created>
  <dcterms:modified xsi:type="dcterms:W3CDTF">2018-04-17T09:23:40Z</dcterms:modified>
</cp:coreProperties>
</file>